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.xml" ContentType="application/vnd.openxmlformats-officedocument.presentationml.notesSlid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2.xml" ContentType="application/vnd.openxmlformats-officedocument.presentationml.notesSl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73" r:id="rId2"/>
    <p:sldId id="376" r:id="rId3"/>
    <p:sldId id="378" r:id="rId4"/>
    <p:sldId id="375" r:id="rId5"/>
    <p:sldId id="374" r:id="rId6"/>
    <p:sldId id="355" r:id="rId7"/>
    <p:sldId id="373" r:id="rId8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D4FF"/>
    <a:srgbClr val="E6E6E6"/>
    <a:srgbClr val="A2D4DB"/>
    <a:srgbClr val="0097D9"/>
    <a:srgbClr val="01449F"/>
    <a:srgbClr val="E3F0F8"/>
    <a:srgbClr val="14A1B7"/>
    <a:srgbClr val="00449F"/>
    <a:srgbClr val="4BFDFF"/>
    <a:srgbClr val="696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486" autoAdjust="0"/>
    <p:restoredTop sz="94601" autoAdjust="0"/>
  </p:normalViewPr>
  <p:slideViewPr>
    <p:cSldViewPr snapToGrid="0">
      <p:cViewPr>
        <p:scale>
          <a:sx n="94" d="100"/>
          <a:sy n="94" d="100"/>
        </p:scale>
        <p:origin x="604" y="68"/>
      </p:cViewPr>
      <p:guideLst/>
    </p:cSldViewPr>
  </p:slid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3078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B01031B-6E8E-4DDA-9E72-D04ECBC713D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40F6026-3B27-49A6-B9DC-AE6F6FA6507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DC67C1-4B10-46A5-A8B3-1208F3680A40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0FB9A2-74FF-4243-91FA-CE74DBE8C53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CE25BB-1CC7-41B0-9C1B-284E95105A6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CC803F-F8D3-48D5-BD51-93AA96FBA7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3466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8FDE07-464A-445B-B29C-6D31BF3B6ED7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8CE86C-2E32-4538-8EA0-66087CB5A2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147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NZ" dirty="0"/>
              <a:t>The reduced tension during the negotiation process is a direct result of the collaborative process through which a true market price is achiev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8CE86C-2E32-4538-8EA0-66087CB5A2F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41116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Z" sz="1200" dirty="0"/>
              <a:t>Assign an internal platform owner to work with Nui to implement your platform – Probably need a speaking point here that this internal platform owner will not need to necessarily be a technical guru or completely 100% dedicated to the implementation project – that is, the internal resource will be able to assist this implementation with as little hassle on their end as possibl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8CE86C-2E32-4538-8EA0-66087CB5A2F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984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68CE86C-2E32-4538-8EA0-66087CB5A2F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545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jp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jp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5.jp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5.jp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5.jp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5.jp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5.jp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5.jp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5.jpg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5.jpg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4.jp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5.jpg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5.jpg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5.jp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5.jpg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5.jpg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5.jpg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5.jp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jp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5.jp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jp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5.jp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ct 83" hidden="1">
            <a:extLst>
              <a:ext uri="{FF2B5EF4-FFF2-40B4-BE49-F238E27FC236}">
                <a16:creationId xmlns:a16="http://schemas.microsoft.com/office/drawing/2014/main" id="{97A991EC-1AE4-48F5-A2B3-31426A7485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2784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4" name="Object 83" hidden="1">
                        <a:extLst>
                          <a:ext uri="{FF2B5EF4-FFF2-40B4-BE49-F238E27FC236}">
                            <a16:creationId xmlns:a16="http://schemas.microsoft.com/office/drawing/2014/main" id="{97A991EC-1AE4-48F5-A2B3-31426A7485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F837C41A-8E2B-4A97-8480-B7A3D65B8E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8" name="Google Shape;36;p6">
            <a:extLst>
              <a:ext uri="{FF2B5EF4-FFF2-40B4-BE49-F238E27FC236}">
                <a16:creationId xmlns:a16="http://schemas.microsoft.com/office/drawing/2014/main" id="{F267754A-3934-4CCA-980F-247BBA0FE65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4557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CF4CBBB-F4B2-4288-9377-687780F2584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5934" y="2323868"/>
            <a:ext cx="5746466" cy="1477328"/>
          </a:xfrm>
        </p:spPr>
        <p:txBody>
          <a:bodyPr wrap="square" lIns="0" tIns="0" rIns="0" bIns="0" anchor="b">
            <a:spAutoFit/>
          </a:bodyPr>
          <a:lstStyle>
            <a:lvl1pPr algn="ctr">
              <a:lnSpc>
                <a:spcPct val="100000"/>
              </a:lnSpc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A627E0D-C799-4A54-9F5E-FF179A1BEE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5934" y="4018273"/>
            <a:ext cx="5746466" cy="307777"/>
          </a:xfrm>
        </p:spPr>
        <p:txBody>
          <a:bodyPr wrap="square" lIns="0" tIns="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Google Shape;38;p6">
            <a:extLst>
              <a:ext uri="{FF2B5EF4-FFF2-40B4-BE49-F238E27FC236}">
                <a16:creationId xmlns:a16="http://schemas.microsoft.com/office/drawing/2014/main" id="{7BBC08D0-1643-4DE9-B11F-3E02EB624E06}"/>
              </a:ext>
            </a:extLst>
          </p:cNvPr>
          <p:cNvPicPr preferRelativeResize="0"/>
          <p:nvPr userDrawn="1"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430792" y="1216263"/>
            <a:ext cx="3565548" cy="3563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39;p6">
            <a:extLst>
              <a:ext uri="{FF2B5EF4-FFF2-40B4-BE49-F238E27FC236}">
                <a16:creationId xmlns:a16="http://schemas.microsoft.com/office/drawing/2014/main" id="{DF6C6C41-78AE-4D0E-87E7-316183031A46}"/>
              </a:ext>
            </a:extLst>
          </p:cNvPr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6991066" y="5064838"/>
            <a:ext cx="4445000" cy="576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8507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386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58" name="Picture Placeholder 3">
            <a:extLst>
              <a:ext uri="{FF2B5EF4-FFF2-40B4-BE49-F238E27FC236}">
                <a16:creationId xmlns:a16="http://schemas.microsoft.com/office/drawing/2014/main" id="{E942B79B-7248-44FE-9E28-64A4089092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6096000" cy="6858001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3F19A4BB-5D51-4EC2-94D4-4A73F41EAAE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647767" y="592118"/>
            <a:ext cx="4560423" cy="246221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027D4D9B-976B-47EA-83F7-96994156575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647767" y="882237"/>
            <a:ext cx="45604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75B46C0-7B03-447D-B5A3-AA14B0CEA9D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647767" y="2020421"/>
            <a:ext cx="4560423" cy="246221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21914567-F4DF-4097-9B4B-D276E5AB9CF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647767" y="2310540"/>
            <a:ext cx="45604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DA5A2BD8-6B05-4EE0-9D39-252241DA426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647767" y="3448725"/>
            <a:ext cx="4560423" cy="246221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CA2141F4-7611-4E72-A6E2-F9AEB39B42C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647767" y="3738844"/>
            <a:ext cx="45604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0F7AF99E-FBC3-47E7-88D0-9B1CCB9C9BB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647767" y="4883237"/>
            <a:ext cx="4560423" cy="246221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30AFE89D-DA45-430C-9177-4B60F0BD50A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47767" y="5173356"/>
            <a:ext cx="4560423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pic>
        <p:nvPicPr>
          <p:cNvPr id="21" name="Picture 20" descr="A picture containing drawing&#10;&#10;Description automatically generated">
            <a:extLst>
              <a:ext uri="{FF2B5EF4-FFF2-40B4-BE49-F238E27FC236}">
                <a16:creationId xmlns:a16="http://schemas.microsoft.com/office/drawing/2014/main" id="{89A97EDA-2A5F-4DDC-818E-D32C698693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47767" y="6218378"/>
            <a:ext cx="1215911" cy="39402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343AB9C-4696-4765-93B6-7B6D32FFE2B5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151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8255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D28A3C48-23A7-4390-8A6C-D6586B03D11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48400" y="1041400"/>
            <a:ext cx="5943600" cy="4953000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EA098D-FE08-4008-9D70-AAEF79C6C54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5CB111CB-6766-4F87-820D-A91D506612A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4295" y="1041400"/>
            <a:ext cx="5540879" cy="2462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>
                <a:solidFill>
                  <a:schemeClr val="tx1"/>
                </a:solidFill>
              </a:defRPr>
            </a:lvl1pPr>
            <a:lvl2pPr marL="18288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None/>
              <a:defRPr sz="1800">
                <a:solidFill>
                  <a:schemeClr val="tx1"/>
                </a:solidFill>
              </a:defRPr>
            </a:lvl2pPr>
            <a:lvl3pPr marL="36576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82157D9-618C-445D-81A3-76BA085DA03A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741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6097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sp>
        <p:nvSpPr>
          <p:cNvPr id="57" name="Picture Placeholder 3">
            <a:extLst>
              <a:ext uri="{FF2B5EF4-FFF2-40B4-BE49-F238E27FC236}">
                <a16:creationId xmlns:a16="http://schemas.microsoft.com/office/drawing/2014/main" id="{33047913-B2E6-49A3-B393-CE030CB90DA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4009013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F7401F65-1C8D-4FA8-A2BC-E18901C02E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64547" y="435535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6FC87359-14E2-41A1-8A53-C8F2BD389E2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64547" y="4645469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C6EBDDA2-C9CE-4130-8DDF-77CC5E44A79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554490" y="435535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304D1F81-A8AA-447E-9752-C4740B4AC66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554490" y="4645469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FE53EA8B-4EF2-4286-B74F-FF6B76517AC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44433" y="435535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6938E452-9A53-44A6-BC6E-586E74FC484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44433" y="4645469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62FC1F84-B8B4-4D20-823D-CCA801F9DB3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534376" y="435535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56D97FF9-236F-4C54-BDB0-071E8A901A74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534376" y="4645469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pic>
        <p:nvPicPr>
          <p:cNvPr id="20" name="Picture 19" descr="A picture containing drawing&#10;&#10;Description automatically generated">
            <a:extLst>
              <a:ext uri="{FF2B5EF4-FFF2-40B4-BE49-F238E27FC236}">
                <a16:creationId xmlns:a16="http://schemas.microsoft.com/office/drawing/2014/main" id="{078EEBA8-B0AA-461F-ADCD-CFE1FE9DC6E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FF887DD4-8608-41C2-9772-C5327A32FE3A}"/>
              </a:ext>
            </a:extLst>
          </p:cNvPr>
          <p:cNvSpPr/>
          <p:nvPr userDrawn="1"/>
        </p:nvSpPr>
        <p:spPr>
          <a:xfrm flipH="1">
            <a:off x="0" y="6812281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9025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7855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EA098D-FE08-4008-9D70-AAEF79C6C54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11" name="Freeform 9">
            <a:extLst>
              <a:ext uri="{FF2B5EF4-FFF2-40B4-BE49-F238E27FC236}">
                <a16:creationId xmlns:a16="http://schemas.microsoft.com/office/drawing/2014/main" id="{7F36A6D2-B16E-443F-908E-5291F3DAC523}"/>
              </a:ext>
            </a:extLst>
          </p:cNvPr>
          <p:cNvSpPr>
            <a:spLocks/>
          </p:cNvSpPr>
          <p:nvPr/>
        </p:nvSpPr>
        <p:spPr bwMode="auto">
          <a:xfrm rot="17972654">
            <a:off x="789993" y="2329520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9AED14B3-7616-4C8E-9650-C0122E7849EF}"/>
              </a:ext>
            </a:extLst>
          </p:cNvPr>
          <p:cNvSpPr>
            <a:spLocks/>
          </p:cNvSpPr>
          <p:nvPr/>
        </p:nvSpPr>
        <p:spPr bwMode="auto">
          <a:xfrm rot="3627346" flipV="1">
            <a:off x="2161723" y="3175646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9A51F23E-3F97-4030-B337-BA1F1C7589F2}"/>
              </a:ext>
            </a:extLst>
          </p:cNvPr>
          <p:cNvSpPr>
            <a:spLocks/>
          </p:cNvSpPr>
          <p:nvPr/>
        </p:nvSpPr>
        <p:spPr bwMode="auto">
          <a:xfrm rot="17972654">
            <a:off x="3533453" y="2329520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82EBE2FE-B394-4EE4-A237-E3FC256AAB00}"/>
              </a:ext>
            </a:extLst>
          </p:cNvPr>
          <p:cNvSpPr>
            <a:spLocks/>
          </p:cNvSpPr>
          <p:nvPr/>
        </p:nvSpPr>
        <p:spPr bwMode="auto">
          <a:xfrm rot="3627346" flipV="1">
            <a:off x="4905184" y="3175648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5" name="Freeform 9">
            <a:extLst>
              <a:ext uri="{FF2B5EF4-FFF2-40B4-BE49-F238E27FC236}">
                <a16:creationId xmlns:a16="http://schemas.microsoft.com/office/drawing/2014/main" id="{E30F22D3-9C20-4BE6-B10C-FA2A303D1368}"/>
              </a:ext>
            </a:extLst>
          </p:cNvPr>
          <p:cNvSpPr>
            <a:spLocks/>
          </p:cNvSpPr>
          <p:nvPr/>
        </p:nvSpPr>
        <p:spPr bwMode="auto">
          <a:xfrm rot="17972654">
            <a:off x="6276913" y="2329519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19" name="Freeform 9">
            <a:extLst>
              <a:ext uri="{FF2B5EF4-FFF2-40B4-BE49-F238E27FC236}">
                <a16:creationId xmlns:a16="http://schemas.microsoft.com/office/drawing/2014/main" id="{723B4C3F-6FDB-490B-A5DD-36ABA7774BD3}"/>
              </a:ext>
            </a:extLst>
          </p:cNvPr>
          <p:cNvSpPr>
            <a:spLocks/>
          </p:cNvSpPr>
          <p:nvPr/>
        </p:nvSpPr>
        <p:spPr bwMode="auto">
          <a:xfrm rot="3627346" flipV="1">
            <a:off x="7648642" y="3175648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20" name="Freeform 9">
            <a:extLst>
              <a:ext uri="{FF2B5EF4-FFF2-40B4-BE49-F238E27FC236}">
                <a16:creationId xmlns:a16="http://schemas.microsoft.com/office/drawing/2014/main" id="{F66DFFFB-7A17-408C-A094-A03D063EBF10}"/>
              </a:ext>
            </a:extLst>
          </p:cNvPr>
          <p:cNvSpPr>
            <a:spLocks/>
          </p:cNvSpPr>
          <p:nvPr/>
        </p:nvSpPr>
        <p:spPr bwMode="auto">
          <a:xfrm rot="17972654">
            <a:off x="9020370" y="2329519"/>
            <a:ext cx="1904281" cy="1721179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34F436AA-AD8F-41BD-B231-47959792903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61306" y="2046872"/>
            <a:ext cx="1868735" cy="215444"/>
          </a:xfrm>
        </p:spPr>
        <p:txBody>
          <a:bodyPr wrap="square" lIns="0" tIns="0" rIns="0" bIns="0" anchor="b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F3F646CF-8531-4535-B79F-DA7BD8024D7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704768" y="2046872"/>
            <a:ext cx="1868735" cy="215444"/>
          </a:xfrm>
        </p:spPr>
        <p:txBody>
          <a:bodyPr wrap="square" lIns="0" tIns="0" rIns="0" bIns="0" anchor="b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C987A33A-5ADC-4D99-B511-3995CAAD8C7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448230" y="2046872"/>
            <a:ext cx="1868735" cy="215444"/>
          </a:xfrm>
        </p:spPr>
        <p:txBody>
          <a:bodyPr wrap="square" lIns="0" tIns="0" rIns="0" bIns="0" anchor="b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02D6104-7CC5-4DCD-A2C8-E9D536558CB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191692" y="2046872"/>
            <a:ext cx="1868735" cy="215444"/>
          </a:xfrm>
        </p:spPr>
        <p:txBody>
          <a:bodyPr wrap="square" lIns="0" tIns="0" rIns="0" bIns="0" anchor="b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94A3D76-2C0E-46CB-9323-4F5F00340BC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333037" y="4964029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E184547D-71B1-4121-AC93-3946FFBB1A3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076497" y="4964029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2E17E80D-AF75-411F-8884-ABE5828B719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819954" y="4964029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0E8D265-9D64-46A8-8B25-9833F69292B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896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231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EA098D-FE08-4008-9D70-AAEF79C6C54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40E8D265-9D64-46A8-8B25-9833F69292B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Freeform 30">
            <a:extLst>
              <a:ext uri="{FF2B5EF4-FFF2-40B4-BE49-F238E27FC236}">
                <a16:creationId xmlns:a16="http://schemas.microsoft.com/office/drawing/2014/main" id="{A9D46DBD-D0AC-44BE-8C8B-51791244320C}"/>
              </a:ext>
            </a:extLst>
          </p:cNvPr>
          <p:cNvSpPr>
            <a:spLocks/>
          </p:cNvSpPr>
          <p:nvPr/>
        </p:nvSpPr>
        <p:spPr bwMode="auto">
          <a:xfrm>
            <a:off x="2231950" y="1048804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53563040-ADD7-40F2-8775-078D7A7F9BA3}"/>
              </a:ext>
            </a:extLst>
          </p:cNvPr>
          <p:cNvSpPr>
            <a:spLocks/>
          </p:cNvSpPr>
          <p:nvPr/>
        </p:nvSpPr>
        <p:spPr bwMode="auto">
          <a:xfrm>
            <a:off x="4858050" y="1048804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sp>
        <p:nvSpPr>
          <p:cNvPr id="32" name="Freeform 30">
            <a:extLst>
              <a:ext uri="{FF2B5EF4-FFF2-40B4-BE49-F238E27FC236}">
                <a16:creationId xmlns:a16="http://schemas.microsoft.com/office/drawing/2014/main" id="{F58E1202-643B-47EC-8232-C71BB33AD1C2}"/>
              </a:ext>
            </a:extLst>
          </p:cNvPr>
          <p:cNvSpPr>
            <a:spLocks/>
          </p:cNvSpPr>
          <p:nvPr/>
        </p:nvSpPr>
        <p:spPr bwMode="auto">
          <a:xfrm>
            <a:off x="7484150" y="1048804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sp>
        <p:nvSpPr>
          <p:cNvPr id="33" name="Freeform 30">
            <a:extLst>
              <a:ext uri="{FF2B5EF4-FFF2-40B4-BE49-F238E27FC236}">
                <a16:creationId xmlns:a16="http://schemas.microsoft.com/office/drawing/2014/main" id="{C74055B0-EF39-408C-877B-E1375441C9C9}"/>
              </a:ext>
            </a:extLst>
          </p:cNvPr>
          <p:cNvSpPr>
            <a:spLocks/>
          </p:cNvSpPr>
          <p:nvPr/>
        </p:nvSpPr>
        <p:spPr bwMode="auto">
          <a:xfrm>
            <a:off x="917823" y="3460885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sp>
        <p:nvSpPr>
          <p:cNvPr id="34" name="Freeform 30">
            <a:extLst>
              <a:ext uri="{FF2B5EF4-FFF2-40B4-BE49-F238E27FC236}">
                <a16:creationId xmlns:a16="http://schemas.microsoft.com/office/drawing/2014/main" id="{F9976099-3530-44F9-B809-7D8A4237A704}"/>
              </a:ext>
            </a:extLst>
          </p:cNvPr>
          <p:cNvSpPr>
            <a:spLocks/>
          </p:cNvSpPr>
          <p:nvPr/>
        </p:nvSpPr>
        <p:spPr bwMode="auto">
          <a:xfrm>
            <a:off x="3545360" y="3460885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sp>
        <p:nvSpPr>
          <p:cNvPr id="35" name="Freeform 30">
            <a:extLst>
              <a:ext uri="{FF2B5EF4-FFF2-40B4-BE49-F238E27FC236}">
                <a16:creationId xmlns:a16="http://schemas.microsoft.com/office/drawing/2014/main" id="{7D2E7FE1-AB5D-4255-9F2A-CCAFA6364840}"/>
              </a:ext>
            </a:extLst>
          </p:cNvPr>
          <p:cNvSpPr>
            <a:spLocks/>
          </p:cNvSpPr>
          <p:nvPr/>
        </p:nvSpPr>
        <p:spPr bwMode="auto">
          <a:xfrm>
            <a:off x="6172898" y="3460885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sp>
        <p:nvSpPr>
          <p:cNvPr id="36" name="Freeform 30">
            <a:extLst>
              <a:ext uri="{FF2B5EF4-FFF2-40B4-BE49-F238E27FC236}">
                <a16:creationId xmlns:a16="http://schemas.microsoft.com/office/drawing/2014/main" id="{F87731EA-3B49-483A-AC3D-4401086AAFA1}"/>
              </a:ext>
            </a:extLst>
          </p:cNvPr>
          <p:cNvSpPr>
            <a:spLocks/>
          </p:cNvSpPr>
          <p:nvPr/>
        </p:nvSpPr>
        <p:spPr bwMode="auto">
          <a:xfrm>
            <a:off x="8800435" y="3460885"/>
            <a:ext cx="2473742" cy="2778275"/>
          </a:xfrm>
          <a:custGeom>
            <a:avLst/>
            <a:gdLst>
              <a:gd name="T0" fmla="*/ 89 w 178"/>
              <a:gd name="T1" fmla="*/ 200 h 200"/>
              <a:gd name="T2" fmla="*/ 81 w 178"/>
              <a:gd name="T3" fmla="*/ 197 h 200"/>
              <a:gd name="T4" fmla="*/ 9 w 178"/>
              <a:gd name="T5" fmla="*/ 156 h 200"/>
              <a:gd name="T6" fmla="*/ 0 w 178"/>
              <a:gd name="T7" fmla="*/ 141 h 200"/>
              <a:gd name="T8" fmla="*/ 0 w 178"/>
              <a:gd name="T9" fmla="*/ 58 h 200"/>
              <a:gd name="T10" fmla="*/ 9 w 178"/>
              <a:gd name="T11" fmla="*/ 44 h 200"/>
              <a:gd name="T12" fmla="*/ 81 w 178"/>
              <a:gd name="T13" fmla="*/ 2 h 200"/>
              <a:gd name="T14" fmla="*/ 89 w 178"/>
              <a:gd name="T15" fmla="*/ 0 h 200"/>
              <a:gd name="T16" fmla="*/ 97 w 178"/>
              <a:gd name="T17" fmla="*/ 2 h 200"/>
              <a:gd name="T18" fmla="*/ 169 w 178"/>
              <a:gd name="T19" fmla="*/ 44 h 200"/>
              <a:gd name="T20" fmla="*/ 178 w 178"/>
              <a:gd name="T21" fmla="*/ 58 h 200"/>
              <a:gd name="T22" fmla="*/ 178 w 178"/>
              <a:gd name="T23" fmla="*/ 141 h 200"/>
              <a:gd name="T24" fmla="*/ 169 w 178"/>
              <a:gd name="T25" fmla="*/ 156 h 200"/>
              <a:gd name="T26" fmla="*/ 97 w 178"/>
              <a:gd name="T27" fmla="*/ 197 h 200"/>
              <a:gd name="T28" fmla="*/ 89 w 178"/>
              <a:gd name="T29" fmla="*/ 2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8" h="200">
                <a:moveTo>
                  <a:pt x="89" y="200"/>
                </a:moveTo>
                <a:cubicBezTo>
                  <a:pt x="86" y="200"/>
                  <a:pt x="83" y="199"/>
                  <a:pt x="81" y="197"/>
                </a:cubicBezTo>
                <a:cubicBezTo>
                  <a:pt x="9" y="156"/>
                  <a:pt x="9" y="156"/>
                  <a:pt x="9" y="156"/>
                </a:cubicBezTo>
                <a:cubicBezTo>
                  <a:pt x="4" y="153"/>
                  <a:pt x="0" y="147"/>
                  <a:pt x="0" y="141"/>
                </a:cubicBezTo>
                <a:cubicBezTo>
                  <a:pt x="0" y="58"/>
                  <a:pt x="0" y="58"/>
                  <a:pt x="0" y="58"/>
                </a:cubicBezTo>
                <a:cubicBezTo>
                  <a:pt x="0" y="53"/>
                  <a:pt x="4" y="47"/>
                  <a:pt x="9" y="44"/>
                </a:cubicBezTo>
                <a:cubicBezTo>
                  <a:pt x="81" y="2"/>
                  <a:pt x="81" y="2"/>
                  <a:pt x="81" y="2"/>
                </a:cubicBezTo>
                <a:cubicBezTo>
                  <a:pt x="83" y="1"/>
                  <a:pt x="86" y="0"/>
                  <a:pt x="89" y="0"/>
                </a:cubicBezTo>
                <a:cubicBezTo>
                  <a:pt x="92" y="0"/>
                  <a:pt x="95" y="1"/>
                  <a:pt x="97" y="2"/>
                </a:cubicBezTo>
                <a:cubicBezTo>
                  <a:pt x="169" y="44"/>
                  <a:pt x="169" y="44"/>
                  <a:pt x="169" y="44"/>
                </a:cubicBezTo>
                <a:cubicBezTo>
                  <a:pt x="174" y="47"/>
                  <a:pt x="178" y="53"/>
                  <a:pt x="178" y="58"/>
                </a:cubicBezTo>
                <a:cubicBezTo>
                  <a:pt x="178" y="141"/>
                  <a:pt x="178" y="141"/>
                  <a:pt x="178" y="141"/>
                </a:cubicBezTo>
                <a:cubicBezTo>
                  <a:pt x="178" y="147"/>
                  <a:pt x="174" y="153"/>
                  <a:pt x="169" y="156"/>
                </a:cubicBezTo>
                <a:cubicBezTo>
                  <a:pt x="97" y="197"/>
                  <a:pt x="97" y="197"/>
                  <a:pt x="97" y="197"/>
                </a:cubicBezTo>
                <a:cubicBezTo>
                  <a:pt x="95" y="199"/>
                  <a:pt x="92" y="200"/>
                  <a:pt x="89" y="20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600" dirty="0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D9AA506F-7628-4528-939F-CE0411668FA1}"/>
              </a:ext>
            </a:extLst>
          </p:cNvPr>
          <p:cNvCxnSpPr/>
          <p:nvPr/>
        </p:nvCxnSpPr>
        <p:spPr>
          <a:xfrm>
            <a:off x="3002096" y="1905000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A161598-B973-421C-8504-73EE108EABB3}"/>
              </a:ext>
            </a:extLst>
          </p:cNvPr>
          <p:cNvCxnSpPr/>
          <p:nvPr/>
        </p:nvCxnSpPr>
        <p:spPr>
          <a:xfrm>
            <a:off x="5628196" y="1905000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C55CB7D-A551-4623-B31D-5A6052868AFF}"/>
              </a:ext>
            </a:extLst>
          </p:cNvPr>
          <p:cNvCxnSpPr/>
          <p:nvPr/>
        </p:nvCxnSpPr>
        <p:spPr>
          <a:xfrm>
            <a:off x="8254296" y="1905000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7CE00DE-3A30-4EDC-BA88-7E4EE16E3511}"/>
              </a:ext>
            </a:extLst>
          </p:cNvPr>
          <p:cNvCxnSpPr/>
          <p:nvPr/>
        </p:nvCxnSpPr>
        <p:spPr>
          <a:xfrm>
            <a:off x="1687969" y="4257675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3994F4E-3118-4759-B6C4-BB9790F93873}"/>
              </a:ext>
            </a:extLst>
          </p:cNvPr>
          <p:cNvCxnSpPr/>
          <p:nvPr/>
        </p:nvCxnSpPr>
        <p:spPr>
          <a:xfrm>
            <a:off x="4315506" y="4257675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C5544F3-2EE1-413A-A982-9554DDD06943}"/>
              </a:ext>
            </a:extLst>
          </p:cNvPr>
          <p:cNvCxnSpPr/>
          <p:nvPr/>
        </p:nvCxnSpPr>
        <p:spPr>
          <a:xfrm>
            <a:off x="6943044" y="4257675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5CDC544-A5D0-4A4C-9DC3-8D0AFEE75AD0}"/>
              </a:ext>
            </a:extLst>
          </p:cNvPr>
          <p:cNvCxnSpPr/>
          <p:nvPr/>
        </p:nvCxnSpPr>
        <p:spPr>
          <a:xfrm>
            <a:off x="9570581" y="4257675"/>
            <a:ext cx="93345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6D5713D6-EF15-4123-9C46-A2B39FC0C03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534454" y="2056152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5EF4BDCE-66C0-4367-9E1A-36E8D1965E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160554" y="2056152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BED88BBE-5B06-457C-8003-AE784B345D5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786654" y="2056152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6071A43C-D497-4124-8110-14CE9D1F2D9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847864" y="4408425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E1851C2E-6B82-442B-94F9-D649E0ED1A7C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475402" y="4408425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7DCB453E-9FFF-49F4-847E-31158D8B68D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102939" y="4408425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917573E4-8B01-45F5-B8D6-8129B6A3403E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220327" y="4408425"/>
            <a:ext cx="1868735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</p:spTree>
    <p:extLst>
      <p:ext uri="{BB962C8B-B14F-4D97-AF65-F5344CB8AC3E}">
        <p14:creationId xmlns:p14="http://schemas.microsoft.com/office/powerpoint/2010/main" val="30536047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746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EA098D-FE08-4008-9D70-AAEF79C6C54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40E8D265-9D64-46A8-8B25-9833F69292B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73FD3BDA-FB41-49D4-8C31-51E2813E0D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6053" y="3486344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95482232-FDA9-4B54-AC64-A7EFF94DD99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053" y="311920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877417AE-4872-4298-B0AD-D809BEE9CF6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44054" y="3486344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A4C86F31-B9F0-4821-AD83-02BE96A68EB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44054" y="311920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2B33E9C9-350B-414B-82EE-1E0B7BAFE30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92055" y="3486344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DC15143B-C089-496F-89F0-9F45BA4E3B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492055" y="311920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E248679A-1BE8-4C69-9E0C-45D97E3B6A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40056" y="3486344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AA85C19B-D1FA-4611-8CE2-667D80339A0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40056" y="3119200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8" name="Freeform 9">
            <a:extLst>
              <a:ext uri="{FF2B5EF4-FFF2-40B4-BE49-F238E27FC236}">
                <a16:creationId xmlns:a16="http://schemas.microsoft.com/office/drawing/2014/main" id="{42563075-5539-47AF-9458-5B60A0A4BD52}"/>
              </a:ext>
            </a:extLst>
          </p:cNvPr>
          <p:cNvSpPr>
            <a:spLocks/>
          </p:cNvSpPr>
          <p:nvPr userDrawn="1"/>
        </p:nvSpPr>
        <p:spPr bwMode="auto">
          <a:xfrm>
            <a:off x="1005838" y="1863027"/>
            <a:ext cx="1036322" cy="936676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59" name="Freeform 9">
            <a:extLst>
              <a:ext uri="{FF2B5EF4-FFF2-40B4-BE49-F238E27FC236}">
                <a16:creationId xmlns:a16="http://schemas.microsoft.com/office/drawing/2014/main" id="{C21D5FE7-1FB2-451C-B75D-F600FE291254}"/>
              </a:ext>
            </a:extLst>
          </p:cNvPr>
          <p:cNvSpPr>
            <a:spLocks/>
          </p:cNvSpPr>
          <p:nvPr userDrawn="1"/>
        </p:nvSpPr>
        <p:spPr bwMode="auto">
          <a:xfrm>
            <a:off x="4053839" y="1863027"/>
            <a:ext cx="1036322" cy="936676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60" name="Freeform 9">
            <a:extLst>
              <a:ext uri="{FF2B5EF4-FFF2-40B4-BE49-F238E27FC236}">
                <a16:creationId xmlns:a16="http://schemas.microsoft.com/office/drawing/2014/main" id="{314EEFB9-8338-4994-8A2F-E70FED273E17}"/>
              </a:ext>
            </a:extLst>
          </p:cNvPr>
          <p:cNvSpPr>
            <a:spLocks/>
          </p:cNvSpPr>
          <p:nvPr userDrawn="1"/>
        </p:nvSpPr>
        <p:spPr bwMode="auto">
          <a:xfrm>
            <a:off x="7101840" y="1863027"/>
            <a:ext cx="1036322" cy="936676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  <p:sp>
        <p:nvSpPr>
          <p:cNvPr id="61" name="Freeform 9">
            <a:extLst>
              <a:ext uri="{FF2B5EF4-FFF2-40B4-BE49-F238E27FC236}">
                <a16:creationId xmlns:a16="http://schemas.microsoft.com/office/drawing/2014/main" id="{7F9A8A7A-BA29-422B-88FF-1B2E90D4BB03}"/>
              </a:ext>
            </a:extLst>
          </p:cNvPr>
          <p:cNvSpPr>
            <a:spLocks/>
          </p:cNvSpPr>
          <p:nvPr userDrawn="1"/>
        </p:nvSpPr>
        <p:spPr bwMode="auto">
          <a:xfrm>
            <a:off x="10149841" y="1863027"/>
            <a:ext cx="1036322" cy="936676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7939351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806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C92AD628-F9D1-4EB4-8128-3A21BA4704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31910" y="1402341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D2FDB4C5-2727-44DB-B56C-28349681C76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31910" y="1122281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3354EACD-C3DD-46F8-937B-571A2BBD1D6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84193" y="1402341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CF06CA36-A99E-46FE-B168-C0072B4D025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84193" y="1122281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BE852EAD-3440-459C-90D1-09AC46C8B9C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31910" y="2807352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72D74F22-C24D-493F-BE07-F1FC0ADC886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31910" y="2527292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921F4AE8-363E-4A3F-8C97-D393A10655C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784193" y="2745727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:a16="http://schemas.microsoft.com/office/drawing/2014/main" id="{25EE5240-6B39-4A27-BFCE-4B53E8D2DF5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784193" y="2465667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028BBAF9-8632-4CAC-8EEB-466C85BAF0D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231910" y="4199466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4007A547-C819-4883-8E0C-9DDAD69FA9E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31910" y="3919406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1F70A89A-790A-4EDB-895A-CAC28A56E07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784193" y="4199466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11703187-EC57-4516-BEC2-8AAA4427DF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784193" y="3919406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04A0FC50-53EE-4281-9A42-9693B1C8065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231910" y="5592150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155CE43D-9C7D-4B74-A021-348843E0E45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231910" y="5312090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F3BB3DEB-9E10-48A3-9C86-9A392B3F1334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84193" y="5580603"/>
            <a:ext cx="3973502" cy="184666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103D5459-927B-49C8-B823-24778E884EB2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784193" y="5300543"/>
            <a:ext cx="3973502" cy="215444"/>
          </a:xfrm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buNone/>
              <a:defRPr lang="en-US" sz="14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1082AB9-08AB-4290-ACCE-0A971202B50D}"/>
              </a:ext>
            </a:extLst>
          </p:cNvPr>
          <p:cNvCxnSpPr/>
          <p:nvPr userDrawn="1"/>
        </p:nvCxnSpPr>
        <p:spPr>
          <a:xfrm>
            <a:off x="1138671" y="1119730"/>
            <a:ext cx="0" cy="6545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4B6ED99-29B1-4926-94AB-ABD773E3F930}"/>
              </a:ext>
            </a:extLst>
          </p:cNvPr>
          <p:cNvCxnSpPr/>
          <p:nvPr userDrawn="1"/>
        </p:nvCxnSpPr>
        <p:spPr>
          <a:xfrm>
            <a:off x="1138671" y="2514034"/>
            <a:ext cx="0" cy="654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2E5EE09-7A20-4673-914F-8CCA7C278171}"/>
              </a:ext>
            </a:extLst>
          </p:cNvPr>
          <p:cNvCxnSpPr/>
          <p:nvPr userDrawn="1"/>
        </p:nvCxnSpPr>
        <p:spPr>
          <a:xfrm>
            <a:off x="1138671" y="3908338"/>
            <a:ext cx="0" cy="6545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FC51BADE-49D6-4931-9EDC-2105DABA12A5}"/>
              </a:ext>
            </a:extLst>
          </p:cNvPr>
          <p:cNvCxnSpPr/>
          <p:nvPr userDrawn="1"/>
        </p:nvCxnSpPr>
        <p:spPr>
          <a:xfrm>
            <a:off x="1138671" y="5302643"/>
            <a:ext cx="0" cy="654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A246C83F-233A-4D63-9428-B5B8DA9159D1}"/>
              </a:ext>
            </a:extLst>
          </p:cNvPr>
          <p:cNvCxnSpPr/>
          <p:nvPr userDrawn="1"/>
        </p:nvCxnSpPr>
        <p:spPr>
          <a:xfrm>
            <a:off x="7670458" y="1119730"/>
            <a:ext cx="0" cy="6545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4C230AC-E4BB-4575-8A4F-99F0082FEDF7}"/>
              </a:ext>
            </a:extLst>
          </p:cNvPr>
          <p:cNvCxnSpPr/>
          <p:nvPr userDrawn="1"/>
        </p:nvCxnSpPr>
        <p:spPr>
          <a:xfrm>
            <a:off x="7670458" y="2463774"/>
            <a:ext cx="0" cy="654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39029CB-227A-41C1-8C17-ABC989E39A4D}"/>
              </a:ext>
            </a:extLst>
          </p:cNvPr>
          <p:cNvCxnSpPr/>
          <p:nvPr userDrawn="1"/>
        </p:nvCxnSpPr>
        <p:spPr>
          <a:xfrm>
            <a:off x="7670458" y="3938496"/>
            <a:ext cx="0" cy="6545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97F8D97-20F8-4D99-A532-FA609E91D9E9}"/>
              </a:ext>
            </a:extLst>
          </p:cNvPr>
          <p:cNvCxnSpPr/>
          <p:nvPr userDrawn="1"/>
        </p:nvCxnSpPr>
        <p:spPr>
          <a:xfrm>
            <a:off x="7670458" y="5302643"/>
            <a:ext cx="0" cy="654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45140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0785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4B5C73D2-A84D-4C5E-AB72-A0CA86D24E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6053" y="477278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0CBD4E2-5314-4783-B903-C90546E4FD5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053" y="449272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7D544BE9-DD74-42CC-BD67-AF45B2F2CB4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44054" y="477278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78" name="Text Placeholder 4">
            <a:extLst>
              <a:ext uri="{FF2B5EF4-FFF2-40B4-BE49-F238E27FC236}">
                <a16:creationId xmlns:a16="http://schemas.microsoft.com/office/drawing/2014/main" id="{3A19BB30-675E-4F6D-AD0C-15532076E5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444054" y="449272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79" name="Text Placeholder 4">
            <a:extLst>
              <a:ext uri="{FF2B5EF4-FFF2-40B4-BE49-F238E27FC236}">
                <a16:creationId xmlns:a16="http://schemas.microsoft.com/office/drawing/2014/main" id="{957BFC40-073E-42D6-93F2-C97CD65ECF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40054" y="477278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0" name="Text Placeholder 4">
            <a:extLst>
              <a:ext uri="{FF2B5EF4-FFF2-40B4-BE49-F238E27FC236}">
                <a16:creationId xmlns:a16="http://schemas.microsoft.com/office/drawing/2014/main" id="{79DAC58F-ED08-4069-AF28-740DE0E1821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40054" y="449272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1" name="Text Placeholder 4">
            <a:extLst>
              <a:ext uri="{FF2B5EF4-FFF2-40B4-BE49-F238E27FC236}">
                <a16:creationId xmlns:a16="http://schemas.microsoft.com/office/drawing/2014/main" id="{06607159-ACD9-4968-8DFB-82088789BA3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92053" y="477278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2" name="Text Placeholder 4">
            <a:extLst>
              <a:ext uri="{FF2B5EF4-FFF2-40B4-BE49-F238E27FC236}">
                <a16:creationId xmlns:a16="http://schemas.microsoft.com/office/drawing/2014/main" id="{EC688D87-04AE-454F-9294-85842A8B4D3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492053" y="449272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8230ED5C-3EA8-4705-BC5C-41BE20D542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96053" y="214359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F5DEAE24-9F3F-4FB4-9E70-9FF84D470BA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396053" y="186353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6" name="Text Placeholder 4">
            <a:extLst>
              <a:ext uri="{FF2B5EF4-FFF2-40B4-BE49-F238E27FC236}">
                <a16:creationId xmlns:a16="http://schemas.microsoft.com/office/drawing/2014/main" id="{F28D8BA2-43E6-4E6A-8A1B-A529788975E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444054" y="214359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D6C5296D-EF4C-4510-B61D-67AEB67CA3B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444054" y="186353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8" name="Text Placeholder 4">
            <a:extLst>
              <a:ext uri="{FF2B5EF4-FFF2-40B4-BE49-F238E27FC236}">
                <a16:creationId xmlns:a16="http://schemas.microsoft.com/office/drawing/2014/main" id="{2AB6E48B-5D81-4509-955B-C83FD953FF3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40054" y="214359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BCCC381C-63A2-4AF1-875C-435FAB1EB2B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540054" y="186353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90" name="Text Placeholder 4">
            <a:extLst>
              <a:ext uri="{FF2B5EF4-FFF2-40B4-BE49-F238E27FC236}">
                <a16:creationId xmlns:a16="http://schemas.microsoft.com/office/drawing/2014/main" id="{EF0C644D-5337-44A1-9815-4E3CD336D7A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92053" y="2143597"/>
            <a:ext cx="2255892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91" name="Text Placeholder 4">
            <a:extLst>
              <a:ext uri="{FF2B5EF4-FFF2-40B4-BE49-F238E27FC236}">
                <a16:creationId xmlns:a16="http://schemas.microsoft.com/office/drawing/2014/main" id="{4DB8B1E5-E4EB-41B4-8BC9-BB66BA667A5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492053" y="1863537"/>
            <a:ext cx="2255892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</p:spTree>
    <p:extLst>
      <p:ext uri="{BB962C8B-B14F-4D97-AF65-F5344CB8AC3E}">
        <p14:creationId xmlns:p14="http://schemas.microsoft.com/office/powerpoint/2010/main" val="27548518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9513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B63F91FB-E75C-4BF9-9507-564221471D9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34295" y="1041401"/>
            <a:ext cx="5471206" cy="472948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E8C6E259-075E-45F5-848D-81EEC30E7B6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6499" y="1041399"/>
            <a:ext cx="5471206" cy="4729480"/>
          </a:xfrm>
        </p:spPr>
        <p:txBody>
          <a:bodyPr wrap="square" lIns="0" tIns="0" rIns="0" bIns="0">
            <a:no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629516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5019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B63F91FB-E75C-4BF9-9507-564221471D98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434294" y="1041401"/>
            <a:ext cx="11323409" cy="238759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E8C6E259-075E-45F5-848D-81EEC30E7B6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4294" y="3797346"/>
            <a:ext cx="11323409" cy="923330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413362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1CC37AD-85A7-45EC-9155-C96E8C351D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7542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1CC37AD-85A7-45EC-9155-C96E8C351D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581E49-AD19-4B96-9FE6-24839E91841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pic>
        <p:nvPicPr>
          <p:cNvPr id="12" name="Google Shape;44;p7">
            <a:extLst>
              <a:ext uri="{FF2B5EF4-FFF2-40B4-BE49-F238E27FC236}">
                <a16:creationId xmlns:a16="http://schemas.microsoft.com/office/drawing/2014/main" id="{E69E223D-C4E8-4735-8028-9E1808ED94CE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rcRect r="13674" b="25678"/>
          <a:stretch/>
        </p:blipFill>
        <p:spPr>
          <a:xfrm>
            <a:off x="1" y="-63498"/>
            <a:ext cx="12192000" cy="6984998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68068A89-EAFD-43EC-9999-63440CA633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55934" y="1250400"/>
            <a:ext cx="8908766" cy="738664"/>
          </a:xfrm>
        </p:spPr>
        <p:txBody>
          <a:bodyPr wrap="square" lIns="0" tIns="0" rIns="0" bIns="0" anchor="b">
            <a:spAutoFit/>
          </a:bodyPr>
          <a:lstStyle>
            <a:lvl1pPr algn="l">
              <a:lnSpc>
                <a:spcPct val="100000"/>
              </a:lnSpc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9D4FACCD-300D-4149-8340-FADC55ED0F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5934" y="2435212"/>
            <a:ext cx="4324066" cy="307777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text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8C0950A-5CA9-48B9-B803-A28591568C4D}"/>
              </a:ext>
            </a:extLst>
          </p:cNvPr>
          <p:cNvGrpSpPr/>
          <p:nvPr userDrawn="1"/>
        </p:nvGrpSpPr>
        <p:grpSpPr>
          <a:xfrm>
            <a:off x="10636000" y="0"/>
            <a:ext cx="786000" cy="1250400"/>
            <a:chOff x="7943600" y="0"/>
            <a:chExt cx="786000" cy="1250400"/>
          </a:xfrm>
        </p:grpSpPr>
        <p:sp>
          <p:nvSpPr>
            <p:cNvPr id="14" name="Google Shape;45;p7">
              <a:extLst>
                <a:ext uri="{FF2B5EF4-FFF2-40B4-BE49-F238E27FC236}">
                  <a16:creationId xmlns:a16="http://schemas.microsoft.com/office/drawing/2014/main" id="{EE466E7A-FAF2-47A3-B179-C4A341E5B88A}"/>
                </a:ext>
              </a:extLst>
            </p:cNvPr>
            <p:cNvSpPr/>
            <p:nvPr/>
          </p:nvSpPr>
          <p:spPr>
            <a:xfrm>
              <a:off x="7943600" y="0"/>
              <a:ext cx="786000" cy="1250400"/>
            </a:xfrm>
            <a:prstGeom prst="rect">
              <a:avLst/>
            </a:prstGeom>
            <a:solidFill>
              <a:srgbClr val="14557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pic>
          <p:nvPicPr>
            <p:cNvPr id="15" name="Google Shape;50;p7">
              <a:extLst>
                <a:ext uri="{FF2B5EF4-FFF2-40B4-BE49-F238E27FC236}">
                  <a16:creationId xmlns:a16="http://schemas.microsoft.com/office/drawing/2014/main" id="{FDF7B544-9061-4C33-A5ED-239959935435}"/>
                </a:ext>
              </a:extLst>
            </p:cNvPr>
            <p:cNvPicPr preferRelativeResize="0"/>
            <p:nvPr/>
          </p:nvPicPr>
          <p:blipFill>
            <a:blip r:embed="rId8">
              <a:alphaModFix/>
            </a:blip>
            <a:stretch>
              <a:fillRect/>
            </a:stretch>
          </p:blipFill>
          <p:spPr>
            <a:xfrm>
              <a:off x="8067725" y="599850"/>
              <a:ext cx="537749" cy="537349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58C4163C-2B63-428A-9266-C994FFF69563}"/>
              </a:ext>
            </a:extLst>
          </p:cNvPr>
          <p:cNvSpPr/>
          <p:nvPr userDrawn="1"/>
        </p:nvSpPr>
        <p:spPr>
          <a:xfrm>
            <a:off x="755934" y="2176294"/>
            <a:ext cx="1422400" cy="716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13826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1783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E8C6E259-075E-45F5-848D-81EEC30E7B6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4294" y="3797346"/>
            <a:ext cx="11323409" cy="923330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10" name="Table Placeholder 6">
            <a:extLst>
              <a:ext uri="{FF2B5EF4-FFF2-40B4-BE49-F238E27FC236}">
                <a16:creationId xmlns:a16="http://schemas.microsoft.com/office/drawing/2014/main" id="{245C9B83-22D2-422F-8495-8D093CCBD503}"/>
              </a:ext>
            </a:extLst>
          </p:cNvPr>
          <p:cNvSpPr>
            <a:spLocks noGrp="1"/>
          </p:cNvSpPr>
          <p:nvPr>
            <p:ph type="tbl" sz="quarter" idx="20"/>
          </p:nvPr>
        </p:nvSpPr>
        <p:spPr>
          <a:xfrm>
            <a:off x="434294" y="1041401"/>
            <a:ext cx="11323409" cy="2387599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30403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2154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E8C6E259-075E-45F5-848D-81EEC30E7B6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6499" y="1041400"/>
            <a:ext cx="5471206" cy="923330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7" name="Table Placeholder 6">
            <a:extLst>
              <a:ext uri="{FF2B5EF4-FFF2-40B4-BE49-F238E27FC236}">
                <a16:creationId xmlns:a16="http://schemas.microsoft.com/office/drawing/2014/main" id="{B3182BA3-F31C-496D-8775-93F35086E7B9}"/>
              </a:ext>
            </a:extLst>
          </p:cNvPr>
          <p:cNvSpPr>
            <a:spLocks noGrp="1"/>
          </p:cNvSpPr>
          <p:nvPr>
            <p:ph type="tbl" sz="quarter" idx="20"/>
          </p:nvPr>
        </p:nvSpPr>
        <p:spPr>
          <a:xfrm>
            <a:off x="434295" y="1041401"/>
            <a:ext cx="5471206" cy="472948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7215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38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58" name="Picture Placeholder 3">
            <a:extLst>
              <a:ext uri="{FF2B5EF4-FFF2-40B4-BE49-F238E27FC236}">
                <a16:creationId xmlns:a16="http://schemas.microsoft.com/office/drawing/2014/main" id="{E942B79B-7248-44FE-9E28-64A4089092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6096000" cy="6858001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3F19A4BB-5D51-4EC2-94D4-4A73F41EAAE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919454" y="663008"/>
            <a:ext cx="4234321" cy="246221"/>
          </a:xfr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75B46C0-7B03-447D-B5A3-AA14B0CEA9D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919454" y="2170740"/>
            <a:ext cx="4234321" cy="246221"/>
          </a:xfr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DA5A2BD8-6B05-4EE0-9D39-252241DA426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919454" y="3678472"/>
            <a:ext cx="4234321" cy="246221"/>
          </a:xfr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0F7AF99E-FBC3-47E7-88D0-9B1CCB9C9BB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919454" y="5186204"/>
            <a:ext cx="4234321" cy="246221"/>
          </a:xfr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343AB9C-4696-4765-93B6-7B6D32FFE2B5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" name="Picture 27" descr="A picture containing drawing&#10;&#10;Description automatically generated">
            <a:extLst>
              <a:ext uri="{FF2B5EF4-FFF2-40B4-BE49-F238E27FC236}">
                <a16:creationId xmlns:a16="http://schemas.microsoft.com/office/drawing/2014/main" id="{8516B33F-8440-4B8D-A577-365A22578AB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919454" y="6264080"/>
            <a:ext cx="1215911" cy="394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0002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1080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58" name="Picture Placeholder 3">
            <a:extLst>
              <a:ext uri="{FF2B5EF4-FFF2-40B4-BE49-F238E27FC236}">
                <a16:creationId xmlns:a16="http://schemas.microsoft.com/office/drawing/2014/main" id="{E942B79B-7248-44FE-9E28-64A4089092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3094196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3F19A4BB-5D51-4EC2-94D4-4A73F41EAAE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59028" y="4027997"/>
            <a:ext cx="2390164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pic>
        <p:nvPicPr>
          <p:cNvPr id="21" name="Picture 20" descr="A picture containing drawing&#10;&#10;Description automatically generated">
            <a:extLst>
              <a:ext uri="{FF2B5EF4-FFF2-40B4-BE49-F238E27FC236}">
                <a16:creationId xmlns:a16="http://schemas.microsoft.com/office/drawing/2014/main" id="{89A97EDA-2A5F-4DDC-818E-D32C6986939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C343AB9C-4696-4765-93B6-7B6D32FFE2B5}"/>
              </a:ext>
            </a:extLst>
          </p:cNvPr>
          <p:cNvSpPr/>
          <p:nvPr userDrawn="1"/>
        </p:nvSpPr>
        <p:spPr>
          <a:xfrm flipH="1">
            <a:off x="0" y="6812281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DC3026F4-E807-4A33-AA53-1CACCB949F1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507891" y="4027997"/>
            <a:ext cx="2390164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EB648D57-FDD3-4921-8A7B-27CDF71B9C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56754" y="4027997"/>
            <a:ext cx="2390164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92D66F8D-429A-4F76-AD3D-75036410CE6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205616" y="4027997"/>
            <a:ext cx="2390164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600" b="1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</p:spTree>
    <p:extLst>
      <p:ext uri="{BB962C8B-B14F-4D97-AF65-F5344CB8AC3E}">
        <p14:creationId xmlns:p14="http://schemas.microsoft.com/office/powerpoint/2010/main" val="40922300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923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pic>
        <p:nvPicPr>
          <p:cNvPr id="29" name="Picture 28" descr="A picture containing drawing&#10;&#10;Description automatically generated">
            <a:extLst>
              <a:ext uri="{FF2B5EF4-FFF2-40B4-BE49-F238E27FC236}">
                <a16:creationId xmlns:a16="http://schemas.microsoft.com/office/drawing/2014/main" id="{61CE055D-B2BF-4D26-909D-515DC546AFE6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46957" y="108289"/>
            <a:ext cx="1589016" cy="514938"/>
          </a:xfrm>
          <a:prstGeom prst="rect">
            <a:avLst/>
          </a:prstGeom>
        </p:spPr>
      </p:pic>
      <p:sp>
        <p:nvSpPr>
          <p:cNvPr id="30" name="Freeform 9">
            <a:extLst>
              <a:ext uri="{FF2B5EF4-FFF2-40B4-BE49-F238E27FC236}">
                <a16:creationId xmlns:a16="http://schemas.microsoft.com/office/drawing/2014/main" id="{08638262-795D-4AD6-B513-98A9FF955BD9}"/>
              </a:ext>
            </a:extLst>
          </p:cNvPr>
          <p:cNvSpPr>
            <a:spLocks/>
          </p:cNvSpPr>
          <p:nvPr/>
        </p:nvSpPr>
        <p:spPr bwMode="auto">
          <a:xfrm rot="7172654">
            <a:off x="9416698" y="5641020"/>
            <a:ext cx="841744" cy="760808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Freeform 9">
            <a:extLst>
              <a:ext uri="{FF2B5EF4-FFF2-40B4-BE49-F238E27FC236}">
                <a16:creationId xmlns:a16="http://schemas.microsoft.com/office/drawing/2014/main" id="{BB04D73D-D3B0-4562-884B-FCB0AB3FDF9C}"/>
              </a:ext>
            </a:extLst>
          </p:cNvPr>
          <p:cNvSpPr>
            <a:spLocks/>
          </p:cNvSpPr>
          <p:nvPr/>
        </p:nvSpPr>
        <p:spPr bwMode="auto">
          <a:xfrm rot="7172654">
            <a:off x="3504664" y="1455666"/>
            <a:ext cx="6351162" cy="5740484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2" name="Freeform 9">
            <a:extLst>
              <a:ext uri="{FF2B5EF4-FFF2-40B4-BE49-F238E27FC236}">
                <a16:creationId xmlns:a16="http://schemas.microsoft.com/office/drawing/2014/main" id="{F6BE5140-6D27-4416-BBB0-36C5CD98C64E}"/>
              </a:ext>
            </a:extLst>
          </p:cNvPr>
          <p:cNvSpPr>
            <a:spLocks/>
          </p:cNvSpPr>
          <p:nvPr/>
        </p:nvSpPr>
        <p:spPr bwMode="auto">
          <a:xfrm rot="7172654">
            <a:off x="3364794" y="1331687"/>
            <a:ext cx="6681702" cy="6039242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noFill/>
          <a:ln w="28575">
            <a:solidFill>
              <a:schemeClr val="accent3"/>
            </a:solidFill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7BE513CC-B905-4B7F-8348-50ABFFA2319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559300" y="3005902"/>
            <a:ext cx="3073400" cy="1231106"/>
          </a:xfrm>
        </p:spPr>
        <p:txBody>
          <a:bodyPr wrap="square" lIns="0" tIns="0" rIns="0" bIns="0" anchor="ctr">
            <a:sp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4000" b="1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2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20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Lorem Ipsum </a:t>
            </a:r>
          </a:p>
        </p:txBody>
      </p:sp>
    </p:spTree>
    <p:extLst>
      <p:ext uri="{BB962C8B-B14F-4D97-AF65-F5344CB8AC3E}">
        <p14:creationId xmlns:p14="http://schemas.microsoft.com/office/powerpoint/2010/main" val="16000593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0663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oboto" panose="02000000000000000000" pitchFamily="2" charset="0"/>
              <a:ea typeface="+mj-ea"/>
              <a:cs typeface="+mj-cs"/>
              <a:sym typeface="Roboto" panose="02000000000000000000" pitchFamily="2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A1BE1B-65C6-4A52-B4A9-2BAA062D3A32}"/>
              </a:ext>
            </a:extLst>
          </p:cNvPr>
          <p:cNvSpPr/>
          <p:nvPr/>
        </p:nvSpPr>
        <p:spPr>
          <a:xfrm>
            <a:off x="0" y="0"/>
            <a:ext cx="12192000" cy="68519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EF0A3053-AA20-4B50-87A3-76BA1A87E3BD}"/>
              </a:ext>
            </a:extLst>
          </p:cNvPr>
          <p:cNvSpPr>
            <a:spLocks noEditPoints="1"/>
          </p:cNvSpPr>
          <p:nvPr/>
        </p:nvSpPr>
        <p:spPr bwMode="auto">
          <a:xfrm rot="1552940">
            <a:off x="979204" y="107632"/>
            <a:ext cx="6259796" cy="5661981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  <a:gd name="T20" fmla="*/ 1079 w 1271"/>
              <a:gd name="T21" fmla="*/ 948 h 1140"/>
              <a:gd name="T22" fmla="*/ 1058 w 1271"/>
              <a:gd name="T23" fmla="*/ 960 h 1140"/>
              <a:gd name="T24" fmla="*/ 212 w 1271"/>
              <a:gd name="T25" fmla="*/ 960 h 1140"/>
              <a:gd name="T26" fmla="*/ 192 w 1271"/>
              <a:gd name="T27" fmla="*/ 948 h 1140"/>
              <a:gd name="T28" fmla="*/ 192 w 1271"/>
              <a:gd name="T29" fmla="*/ 924 h 1140"/>
              <a:gd name="T30" fmla="*/ 614 w 1271"/>
              <a:gd name="T31" fmla="*/ 192 h 1140"/>
              <a:gd name="T32" fmla="*/ 635 w 1271"/>
              <a:gd name="T33" fmla="*/ 180 h 1140"/>
              <a:gd name="T34" fmla="*/ 656 w 1271"/>
              <a:gd name="T35" fmla="*/ 192 h 1140"/>
              <a:gd name="T36" fmla="*/ 1079 w 1271"/>
              <a:gd name="T37" fmla="*/ 924 h 1140"/>
              <a:gd name="T38" fmla="*/ 1079 w 1271"/>
              <a:gd name="T39" fmla="*/ 948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  <a:moveTo>
                  <a:pt x="1079" y="948"/>
                </a:moveTo>
                <a:cubicBezTo>
                  <a:pt x="1074" y="955"/>
                  <a:pt x="1066" y="960"/>
                  <a:pt x="1058" y="960"/>
                </a:cubicBezTo>
                <a:cubicBezTo>
                  <a:pt x="212" y="960"/>
                  <a:pt x="212" y="960"/>
                  <a:pt x="212" y="960"/>
                </a:cubicBezTo>
                <a:cubicBezTo>
                  <a:pt x="204" y="960"/>
                  <a:pt x="196" y="955"/>
                  <a:pt x="192" y="948"/>
                </a:cubicBezTo>
                <a:cubicBezTo>
                  <a:pt x="187" y="940"/>
                  <a:pt x="187" y="931"/>
                  <a:pt x="192" y="924"/>
                </a:cubicBezTo>
                <a:cubicBezTo>
                  <a:pt x="614" y="192"/>
                  <a:pt x="614" y="192"/>
                  <a:pt x="614" y="192"/>
                </a:cubicBezTo>
                <a:cubicBezTo>
                  <a:pt x="619" y="184"/>
                  <a:pt x="627" y="180"/>
                  <a:pt x="635" y="180"/>
                </a:cubicBezTo>
                <a:cubicBezTo>
                  <a:pt x="644" y="180"/>
                  <a:pt x="652" y="184"/>
                  <a:pt x="656" y="192"/>
                </a:cubicBezTo>
                <a:cubicBezTo>
                  <a:pt x="1079" y="924"/>
                  <a:pt x="1079" y="924"/>
                  <a:pt x="1079" y="924"/>
                </a:cubicBezTo>
                <a:cubicBezTo>
                  <a:pt x="1083" y="931"/>
                  <a:pt x="1083" y="940"/>
                  <a:pt x="1079" y="94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9">
            <a:extLst>
              <a:ext uri="{FF2B5EF4-FFF2-40B4-BE49-F238E27FC236}">
                <a16:creationId xmlns:a16="http://schemas.microsoft.com/office/drawing/2014/main" id="{722433E8-0324-4B45-82B5-EF9E28221E04}"/>
              </a:ext>
            </a:extLst>
          </p:cNvPr>
          <p:cNvSpPr>
            <a:spLocks/>
          </p:cNvSpPr>
          <p:nvPr/>
        </p:nvSpPr>
        <p:spPr bwMode="auto">
          <a:xfrm rot="17972654">
            <a:off x="1098657" y="5175088"/>
            <a:ext cx="646401" cy="584247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C72468C7-47B9-4C81-BDE7-E59D244B6488}"/>
              </a:ext>
            </a:extLst>
          </p:cNvPr>
          <p:cNvSpPr>
            <a:spLocks/>
          </p:cNvSpPr>
          <p:nvPr/>
        </p:nvSpPr>
        <p:spPr bwMode="auto">
          <a:xfrm rot="18974888">
            <a:off x="3930216" y="1164275"/>
            <a:ext cx="646401" cy="584247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CA6EEF40-06E0-4FFC-9A67-29AB7099CB5F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022482" y="3040726"/>
            <a:ext cx="3082918" cy="999054"/>
          </a:xfrm>
          <a:prstGeom prst="rect">
            <a:avLst/>
          </a:prstGeom>
        </p:spPr>
      </p:pic>
      <p:sp>
        <p:nvSpPr>
          <p:cNvPr id="17" name="Freeform 9">
            <a:extLst>
              <a:ext uri="{FF2B5EF4-FFF2-40B4-BE49-F238E27FC236}">
                <a16:creationId xmlns:a16="http://schemas.microsoft.com/office/drawing/2014/main" id="{8EC1F3C0-ED0A-402F-A525-17E931BAB8E8}"/>
              </a:ext>
            </a:extLst>
          </p:cNvPr>
          <p:cNvSpPr>
            <a:spLocks/>
          </p:cNvSpPr>
          <p:nvPr/>
        </p:nvSpPr>
        <p:spPr bwMode="auto">
          <a:xfrm rot="3600000" flipH="1">
            <a:off x="6343609" y="5349019"/>
            <a:ext cx="261531" cy="236383"/>
          </a:xfrm>
          <a:custGeom>
            <a:avLst/>
            <a:gdLst>
              <a:gd name="T0" fmla="*/ 1234 w 1271"/>
              <a:gd name="T1" fmla="*/ 834 h 1140"/>
              <a:gd name="T2" fmla="*/ 812 w 1271"/>
              <a:gd name="T3" fmla="*/ 102 h 1140"/>
              <a:gd name="T4" fmla="*/ 635 w 1271"/>
              <a:gd name="T5" fmla="*/ 0 h 1140"/>
              <a:gd name="T6" fmla="*/ 458 w 1271"/>
              <a:gd name="T7" fmla="*/ 102 h 1140"/>
              <a:gd name="T8" fmla="*/ 36 w 1271"/>
              <a:gd name="T9" fmla="*/ 834 h 1140"/>
              <a:gd name="T10" fmla="*/ 36 w 1271"/>
              <a:gd name="T11" fmla="*/ 1038 h 1140"/>
              <a:gd name="T12" fmla="*/ 212 w 1271"/>
              <a:gd name="T13" fmla="*/ 1140 h 1140"/>
              <a:gd name="T14" fmla="*/ 1058 w 1271"/>
              <a:gd name="T15" fmla="*/ 1140 h 1140"/>
              <a:gd name="T16" fmla="*/ 1234 w 1271"/>
              <a:gd name="T17" fmla="*/ 1037 h 1140"/>
              <a:gd name="T18" fmla="*/ 1234 w 1271"/>
              <a:gd name="T19" fmla="*/ 834 h 1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71" h="1140">
                <a:moveTo>
                  <a:pt x="1234" y="834"/>
                </a:moveTo>
                <a:cubicBezTo>
                  <a:pt x="812" y="102"/>
                  <a:pt x="812" y="102"/>
                  <a:pt x="812" y="102"/>
                </a:cubicBezTo>
                <a:cubicBezTo>
                  <a:pt x="775" y="39"/>
                  <a:pt x="708" y="0"/>
                  <a:pt x="635" y="0"/>
                </a:cubicBezTo>
                <a:cubicBezTo>
                  <a:pt x="562" y="0"/>
                  <a:pt x="495" y="39"/>
                  <a:pt x="458" y="102"/>
                </a:cubicBezTo>
                <a:cubicBezTo>
                  <a:pt x="36" y="834"/>
                  <a:pt x="36" y="834"/>
                  <a:pt x="36" y="834"/>
                </a:cubicBezTo>
                <a:cubicBezTo>
                  <a:pt x="0" y="896"/>
                  <a:pt x="0" y="975"/>
                  <a:pt x="36" y="1038"/>
                </a:cubicBezTo>
                <a:cubicBezTo>
                  <a:pt x="72" y="1100"/>
                  <a:pt x="140" y="1140"/>
                  <a:pt x="212" y="1140"/>
                </a:cubicBezTo>
                <a:cubicBezTo>
                  <a:pt x="1058" y="1140"/>
                  <a:pt x="1058" y="1140"/>
                  <a:pt x="1058" y="1140"/>
                </a:cubicBezTo>
                <a:cubicBezTo>
                  <a:pt x="1130" y="1140"/>
                  <a:pt x="1198" y="1100"/>
                  <a:pt x="1234" y="1037"/>
                </a:cubicBezTo>
                <a:cubicBezTo>
                  <a:pt x="1271" y="975"/>
                  <a:pt x="1271" y="896"/>
                  <a:pt x="1234" y="834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42969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3994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869E894-9FFD-4557-972C-FB3C2D025F8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4294" y="1090643"/>
            <a:ext cx="5422900" cy="892552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  <a:defRPr sz="1600">
                <a:solidFill>
                  <a:schemeClr val="tx1"/>
                </a:solidFill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FF58973F-0C2C-4255-A5DD-9389551A0F6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334805" y="1090643"/>
            <a:ext cx="5422900" cy="892552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EB9AF6CF-CB69-4DAF-82F8-DF09A7A0EDF5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3557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9903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1326E9-8EFF-4A84-86EF-751133990B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4295" y="1085959"/>
            <a:ext cx="3401105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7E725B1F-B78B-40DC-8EFB-0A12842D38A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95446" y="1085959"/>
            <a:ext cx="3401105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DB19C2D7-4A62-41F2-A276-DA73CF5646D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56597" y="1085959"/>
            <a:ext cx="3401105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9082646-D94F-4580-93E4-18828AB2E43B}"/>
              </a:ext>
            </a:extLst>
          </p:cNvPr>
          <p:cNvCxnSpPr>
            <a:cxnSpLocks/>
          </p:cNvCxnSpPr>
          <p:nvPr userDrawn="1"/>
        </p:nvCxnSpPr>
        <p:spPr>
          <a:xfrm>
            <a:off x="4115424" y="1529325"/>
            <a:ext cx="0" cy="410947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76A24A7-D3BA-40DF-BCDE-A25676114F23}"/>
              </a:ext>
            </a:extLst>
          </p:cNvPr>
          <p:cNvCxnSpPr>
            <a:cxnSpLocks/>
          </p:cNvCxnSpPr>
          <p:nvPr userDrawn="1"/>
        </p:nvCxnSpPr>
        <p:spPr>
          <a:xfrm>
            <a:off x="8076576" y="1529325"/>
            <a:ext cx="0" cy="410947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EF6278A-67D2-4D19-AC90-7C862551A6B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4295" y="1529325"/>
            <a:ext cx="3401105" cy="892552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73AB6C28-DBBF-475D-A380-DB2DBEADA43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95446" y="1529325"/>
            <a:ext cx="3401105" cy="892552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09A115A6-4506-4BE8-B597-D1DFCE34206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356597" y="1529325"/>
            <a:ext cx="3401105" cy="892552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B032A0D-AB1B-4830-AF76-30DF9E11C332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64924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992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5F4FF39-98D6-4093-A1ED-44598DB3A2B7}"/>
              </a:ext>
            </a:extLst>
          </p:cNvPr>
          <p:cNvSpPr/>
          <p:nvPr userDrawn="1"/>
        </p:nvSpPr>
        <p:spPr>
          <a:xfrm>
            <a:off x="-1" y="0"/>
            <a:ext cx="341947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72" y="950093"/>
            <a:ext cx="2737530" cy="1661993"/>
          </a:xfrm>
        </p:spPr>
        <p:txBody>
          <a:bodyPr wrap="square" lIns="0" tIns="0" rIns="0" bIns="0" anchor="ctr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551DB671-C61F-4717-B71E-D9F36EC0CFD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64895" y="6198927"/>
            <a:ext cx="1215911" cy="394029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B31EAAA-8E68-4362-B825-BA599D894A5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0972" y="2679492"/>
            <a:ext cx="2737530" cy="5539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28AEB0C-CD49-49E8-88BC-1B65E8B8742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64895" y="1033193"/>
            <a:ext cx="7468960" cy="923330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51830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9094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5F4FF39-98D6-4093-A1ED-44598DB3A2B7}"/>
              </a:ext>
            </a:extLst>
          </p:cNvPr>
          <p:cNvSpPr/>
          <p:nvPr userDrawn="1"/>
        </p:nvSpPr>
        <p:spPr>
          <a:xfrm>
            <a:off x="-1" y="0"/>
            <a:ext cx="341947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72" y="950094"/>
            <a:ext cx="2737530" cy="1661993"/>
          </a:xfrm>
        </p:spPr>
        <p:txBody>
          <a:bodyPr wrap="square" lIns="0" tIns="0" rIns="0" bIns="0" anchor="ctr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B31EAAA-8E68-4362-B825-BA599D894A5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0972" y="2679492"/>
            <a:ext cx="2737530" cy="553998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DEEFD267-E05E-4E10-A5FC-952528FEA6F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964895" y="6198927"/>
            <a:ext cx="1215911" cy="394029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04EA94-EF31-415F-89C9-5E8C6DE19B8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64895" y="1496634"/>
            <a:ext cx="3443060" cy="923330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662307D-195E-474D-A921-C422D042E86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90795" y="1496634"/>
            <a:ext cx="3443060" cy="923330"/>
          </a:xfrm>
        </p:spPr>
        <p:txBody>
          <a:bodyPr wrap="square" lIns="0" tIns="0" rIns="0" bIns="0">
            <a:spAutoFit/>
          </a:bodyPr>
          <a:lstStyle>
            <a:lvl1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1"/>
                </a:solidFill>
              </a:defRPr>
            </a:lvl1pPr>
            <a:lvl2pPr marL="36576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Lato" panose="020F0502020204030203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4pPr>
            <a:lvl5pPr marL="182880" indent="-18288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marL="548640" lvl="2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5000"/>
              <a:buFont typeface="Courier New" panose="02070309020205020404" pitchFamily="49" charset="0"/>
              <a:buChar char="o"/>
            </a:pPr>
            <a:r>
              <a:rPr lang="en-US" dirty="0"/>
              <a:t>Third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9991022-4FFD-454A-BA2B-0FD680EC0F9B}"/>
              </a:ext>
            </a:extLst>
          </p:cNvPr>
          <p:cNvCxnSpPr>
            <a:cxnSpLocks/>
          </p:cNvCxnSpPr>
          <p:nvPr userDrawn="1"/>
        </p:nvCxnSpPr>
        <p:spPr>
          <a:xfrm>
            <a:off x="7699375" y="1496634"/>
            <a:ext cx="0" cy="410947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FF73982-47D2-4D29-AE8A-66C6ABB0A1E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964895" y="1033193"/>
            <a:ext cx="3443060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C93EF60-7BE3-4E27-9D66-61B49F08038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990795" y="1033193"/>
            <a:ext cx="3443060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800" b="1">
                <a:solidFill>
                  <a:schemeClr val="accent1"/>
                </a:solidFill>
                <a:latin typeface="+mj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5421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1243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83D3C7F-D5E9-41C7-9DEC-F8AD232BAD3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4295" y="2843999"/>
            <a:ext cx="1991405" cy="492443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03193F9-19E9-4B23-BB33-F505FDE8E80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743144" y="2843999"/>
            <a:ext cx="1991405" cy="492443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35B250DC-8EF7-42A2-ADB6-D41D98966D9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051993" y="2843999"/>
            <a:ext cx="1991405" cy="492443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BF679C7-9F52-46A3-99D2-E2D70DCC8F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360842" y="2843999"/>
            <a:ext cx="1991405" cy="492443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9AA2AC9-C456-4FA4-BF87-35CBCB311DA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669690" y="2843999"/>
            <a:ext cx="1991405" cy="492443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20FA351-4ABC-46EA-866F-27CF99CAA0D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34296" y="1663423"/>
            <a:ext cx="1143056" cy="861774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800" b="0">
                <a:solidFill>
                  <a:schemeClr val="accent1"/>
                </a:solidFill>
                <a:latin typeface="Impact" panose="020B0806030902050204" pitchFamily="34" charset="0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03689E46-0400-4E02-B8D4-7511DECF056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743145" y="1663423"/>
            <a:ext cx="1143056" cy="861774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800" b="0">
                <a:solidFill>
                  <a:schemeClr val="accent1"/>
                </a:solidFill>
                <a:latin typeface="Impact" panose="020B0806030902050204" pitchFamily="34" charset="0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C681285D-1FF2-487D-8B4A-D8A0075CE710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051994" y="1663423"/>
            <a:ext cx="1143056" cy="861774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800" b="0">
                <a:solidFill>
                  <a:schemeClr val="accent1"/>
                </a:solidFill>
                <a:latin typeface="Impact" panose="020B0806030902050204" pitchFamily="34" charset="0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B64A532A-5423-4957-BDF4-D83D673F702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60843" y="1663423"/>
            <a:ext cx="1143056" cy="861774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800" b="0">
                <a:solidFill>
                  <a:schemeClr val="accent1"/>
                </a:solidFill>
                <a:latin typeface="Impact" panose="020B0806030902050204" pitchFamily="34" charset="0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517296E-C9C2-496F-AC5E-05FDDBDFD67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669691" y="1663423"/>
            <a:ext cx="1143056" cy="861774"/>
          </a:xfr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2800" b="0">
                <a:solidFill>
                  <a:schemeClr val="accent1"/>
                </a:solidFill>
                <a:latin typeface="Impact" panose="020B0806030902050204" pitchFamily="34" charset="0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2002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6937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wrap="square" lIns="0" tIns="0" rIns="0" bIns="0" anchor="t">
            <a:sp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800" b="1" kern="120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83D3C7F-D5E9-41C7-9DEC-F8AD232BAD3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72073" y="1534109"/>
            <a:ext cx="4567440" cy="246221"/>
          </a:xfrm>
        </p:spPr>
        <p:txBody>
          <a:bodyPr wrap="square" lIns="0" tIns="0" rIns="0" bIns="0" anchor="b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BF679C7-9F52-46A3-99D2-E2D70DCC8F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439512" y="4850902"/>
            <a:ext cx="2994343" cy="246221"/>
          </a:xfrm>
        </p:spPr>
        <p:txBody>
          <a:bodyPr wrap="square" lIns="0" tIns="0" rIns="0" bIns="0" anchor="ctr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9AA2AC9-C456-4FA4-BF87-35CBCB311DA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96901" y="4850902"/>
            <a:ext cx="3212886" cy="246221"/>
          </a:xfrm>
        </p:spPr>
        <p:txBody>
          <a:bodyPr wrap="square" lIns="0" tIns="0" rIns="0" bIns="0" anchor="ctr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0261BE5-8594-4042-A4D3-9B3356A7942B}"/>
              </a:ext>
            </a:extLst>
          </p:cNvPr>
          <p:cNvGrpSpPr/>
          <p:nvPr userDrawn="1"/>
        </p:nvGrpSpPr>
        <p:grpSpPr>
          <a:xfrm>
            <a:off x="4102101" y="1966974"/>
            <a:ext cx="3987800" cy="3893682"/>
            <a:chOff x="3471316" y="867429"/>
            <a:chExt cx="5249369" cy="5125479"/>
          </a:xfrm>
        </p:grpSpPr>
        <p:sp>
          <p:nvSpPr>
            <p:cNvPr id="19" name="Freeform 98">
              <a:extLst>
                <a:ext uri="{FF2B5EF4-FFF2-40B4-BE49-F238E27FC236}">
                  <a16:creationId xmlns:a16="http://schemas.microsoft.com/office/drawing/2014/main" id="{BA0D31FA-2A76-4962-AE11-D28BCA454455}"/>
                </a:ext>
              </a:extLst>
            </p:cNvPr>
            <p:cNvSpPr/>
            <p:nvPr/>
          </p:nvSpPr>
          <p:spPr>
            <a:xfrm rot="18000000">
              <a:off x="3889703" y="1716674"/>
              <a:ext cx="3661137" cy="1962648"/>
            </a:xfrm>
            <a:custGeom>
              <a:avLst/>
              <a:gdLst>
                <a:gd name="connsiteX0" fmla="*/ 3542697 w 3661137"/>
                <a:gd name="connsiteY0" fmla="*/ 513567 h 1962648"/>
                <a:gd name="connsiteX1" fmla="*/ 3661137 w 3661137"/>
                <a:gd name="connsiteY1" fmla="*/ 981324 h 1962648"/>
                <a:gd name="connsiteX2" fmla="*/ 2679813 w 3661137"/>
                <a:gd name="connsiteY2" fmla="*/ 1962648 h 1962648"/>
                <a:gd name="connsiteX3" fmla="*/ 2131146 w 3661137"/>
                <a:gd name="connsiteY3" fmla="*/ 1795053 h 1962648"/>
                <a:gd name="connsiteX4" fmla="*/ 2080866 w 3661137"/>
                <a:gd name="connsiteY4" fmla="*/ 1753569 h 1962648"/>
                <a:gd name="connsiteX5" fmla="*/ 2080866 w 3661137"/>
                <a:gd name="connsiteY5" fmla="*/ 1754514 h 1962648"/>
                <a:gd name="connsiteX6" fmla="*/ 2069586 w 3661137"/>
                <a:gd name="connsiteY6" fmla="*/ 1744262 h 1962648"/>
                <a:gd name="connsiteX7" fmla="*/ 1988824 w 3661137"/>
                <a:gd name="connsiteY7" fmla="*/ 1677627 h 1962648"/>
                <a:gd name="connsiteX8" fmla="*/ 1923077 w 3661137"/>
                <a:gd name="connsiteY8" fmla="*/ 1627845 h 1962648"/>
                <a:gd name="connsiteX9" fmla="*/ 986480 w 3661137"/>
                <a:gd name="connsiteY9" fmla="*/ 1335560 h 1962648"/>
                <a:gd name="connsiteX10" fmla="*/ 259448 w 3661137"/>
                <a:gd name="connsiteY10" fmla="*/ 1504426 h 1962648"/>
                <a:gd name="connsiteX11" fmla="*/ 232148 w 3661137"/>
                <a:gd name="connsiteY11" fmla="*/ 1519174 h 1962648"/>
                <a:gd name="connsiteX12" fmla="*/ 229731 w 3661137"/>
                <a:gd name="connsiteY12" fmla="*/ 1433762 h 1962648"/>
                <a:gd name="connsiteX13" fmla="*/ 235281 w 3661137"/>
                <a:gd name="connsiteY13" fmla="*/ 1312431 h 1962648"/>
                <a:gd name="connsiteX14" fmla="*/ 245518 w 3661137"/>
                <a:gd name="connsiteY14" fmla="*/ 1230617 h 1962648"/>
                <a:gd name="connsiteX15" fmla="*/ 276054 w 3661137"/>
                <a:gd name="connsiteY15" fmla="*/ 1048636 h 1962648"/>
                <a:gd name="connsiteX16" fmla="*/ 146862 w 3661137"/>
                <a:gd name="connsiteY16" fmla="*/ 489678 h 1962648"/>
                <a:gd name="connsiteX17" fmla="*/ 30710 w 3661137"/>
                <a:gd name="connsiteY17" fmla="*/ 328372 h 1962648"/>
                <a:gd name="connsiteX18" fmla="*/ 0 w 3661137"/>
                <a:gd name="connsiteY18" fmla="*/ 297033 h 1962648"/>
                <a:gd name="connsiteX19" fmla="*/ 49882 w 3661137"/>
                <a:gd name="connsiteY19" fmla="*/ 334803 h 1962648"/>
                <a:gd name="connsiteX20" fmla="*/ 986479 w 3661137"/>
                <a:gd name="connsiteY20" fmla="*/ 627088 h 1962648"/>
                <a:gd name="connsiteX21" fmla="*/ 1923076 w 3661137"/>
                <a:gd name="connsiteY21" fmla="*/ 334803 h 1962648"/>
                <a:gd name="connsiteX22" fmla="*/ 1988836 w 3661137"/>
                <a:gd name="connsiteY22" fmla="*/ 285012 h 1962648"/>
                <a:gd name="connsiteX23" fmla="*/ 2069574 w 3661137"/>
                <a:gd name="connsiteY23" fmla="*/ 218396 h 1962648"/>
                <a:gd name="connsiteX24" fmla="*/ 2080866 w 3661137"/>
                <a:gd name="connsiteY24" fmla="*/ 208133 h 1962648"/>
                <a:gd name="connsiteX25" fmla="*/ 2080866 w 3661137"/>
                <a:gd name="connsiteY25" fmla="*/ 209080 h 1962648"/>
                <a:gd name="connsiteX26" fmla="*/ 2131146 w 3661137"/>
                <a:gd name="connsiteY26" fmla="*/ 167595 h 1962648"/>
                <a:gd name="connsiteX27" fmla="*/ 2679813 w 3661137"/>
                <a:gd name="connsiteY27" fmla="*/ 0 h 1962648"/>
                <a:gd name="connsiteX28" fmla="*/ 3542697 w 3661137"/>
                <a:gd name="connsiteY28" fmla="*/ 513567 h 1962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661137" h="1962648">
                  <a:moveTo>
                    <a:pt x="3542697" y="513567"/>
                  </a:moveTo>
                  <a:cubicBezTo>
                    <a:pt x="3618231" y="652614"/>
                    <a:pt x="3661137" y="811958"/>
                    <a:pt x="3661137" y="981324"/>
                  </a:cubicBezTo>
                  <a:cubicBezTo>
                    <a:pt x="3661137" y="1523294"/>
                    <a:pt x="3221783" y="1962648"/>
                    <a:pt x="2679813" y="1962648"/>
                  </a:cubicBezTo>
                  <a:cubicBezTo>
                    <a:pt x="2476574" y="1962648"/>
                    <a:pt x="2287766" y="1900864"/>
                    <a:pt x="2131146" y="1795053"/>
                  </a:cubicBezTo>
                  <a:lnTo>
                    <a:pt x="2080866" y="1753569"/>
                  </a:lnTo>
                  <a:lnTo>
                    <a:pt x="2080866" y="1754514"/>
                  </a:lnTo>
                  <a:lnTo>
                    <a:pt x="2069586" y="1744262"/>
                  </a:lnTo>
                  <a:lnTo>
                    <a:pt x="1988824" y="1677627"/>
                  </a:lnTo>
                  <a:lnTo>
                    <a:pt x="1923077" y="1627845"/>
                  </a:lnTo>
                  <a:cubicBezTo>
                    <a:pt x="1657223" y="1443550"/>
                    <a:pt x="1334463" y="1335560"/>
                    <a:pt x="986480" y="1335560"/>
                  </a:cubicBezTo>
                  <a:cubicBezTo>
                    <a:pt x="725493" y="1335560"/>
                    <a:pt x="478693" y="1396304"/>
                    <a:pt x="259448" y="1504426"/>
                  </a:cubicBezTo>
                  <a:lnTo>
                    <a:pt x="232148" y="1519174"/>
                  </a:lnTo>
                  <a:lnTo>
                    <a:pt x="229731" y="1433762"/>
                  </a:lnTo>
                  <a:cubicBezTo>
                    <a:pt x="230089" y="1393201"/>
                    <a:pt x="231946" y="1352729"/>
                    <a:pt x="235281" y="1312431"/>
                  </a:cubicBezTo>
                  <a:lnTo>
                    <a:pt x="245518" y="1230617"/>
                  </a:lnTo>
                  <a:lnTo>
                    <a:pt x="276054" y="1048636"/>
                  </a:lnTo>
                  <a:cubicBezTo>
                    <a:pt x="289379" y="860093"/>
                    <a:pt x="248481" y="665688"/>
                    <a:pt x="146862" y="489678"/>
                  </a:cubicBezTo>
                  <a:cubicBezTo>
                    <a:pt x="112989" y="431008"/>
                    <a:pt x="73972" y="377159"/>
                    <a:pt x="30710" y="328372"/>
                  </a:cubicBezTo>
                  <a:lnTo>
                    <a:pt x="0" y="297033"/>
                  </a:lnTo>
                  <a:lnTo>
                    <a:pt x="49882" y="334803"/>
                  </a:lnTo>
                  <a:cubicBezTo>
                    <a:pt x="315735" y="519098"/>
                    <a:pt x="638496" y="627088"/>
                    <a:pt x="986479" y="627088"/>
                  </a:cubicBezTo>
                  <a:cubicBezTo>
                    <a:pt x="1334462" y="627088"/>
                    <a:pt x="1657223" y="519098"/>
                    <a:pt x="1923076" y="334803"/>
                  </a:cubicBezTo>
                  <a:lnTo>
                    <a:pt x="1988836" y="285012"/>
                  </a:lnTo>
                  <a:lnTo>
                    <a:pt x="2069574" y="218396"/>
                  </a:lnTo>
                  <a:lnTo>
                    <a:pt x="2080866" y="208133"/>
                  </a:lnTo>
                  <a:lnTo>
                    <a:pt x="2080866" y="209080"/>
                  </a:lnTo>
                  <a:lnTo>
                    <a:pt x="2131146" y="167595"/>
                  </a:lnTo>
                  <a:cubicBezTo>
                    <a:pt x="2287766" y="61784"/>
                    <a:pt x="2476574" y="0"/>
                    <a:pt x="2679813" y="0"/>
                  </a:cubicBezTo>
                  <a:cubicBezTo>
                    <a:pt x="3052418" y="0"/>
                    <a:pt x="3376520" y="207663"/>
                    <a:pt x="3542697" y="513567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Freeform 97">
              <a:extLst>
                <a:ext uri="{FF2B5EF4-FFF2-40B4-BE49-F238E27FC236}">
                  <a16:creationId xmlns:a16="http://schemas.microsoft.com/office/drawing/2014/main" id="{5EBCB8FC-3118-4D36-9EEF-DFE6EB60B90B}"/>
                </a:ext>
              </a:extLst>
            </p:cNvPr>
            <p:cNvSpPr/>
            <p:nvPr/>
          </p:nvSpPr>
          <p:spPr>
            <a:xfrm>
              <a:off x="3471316" y="3910308"/>
              <a:ext cx="3669459" cy="1962648"/>
            </a:xfrm>
            <a:custGeom>
              <a:avLst/>
              <a:gdLst>
                <a:gd name="connsiteX0" fmla="*/ 981324 w 3669459"/>
                <a:gd name="connsiteY0" fmla="*/ 0 h 1962648"/>
                <a:gd name="connsiteX1" fmla="*/ 1529992 w 3669459"/>
                <a:gd name="connsiteY1" fmla="*/ 167595 h 1962648"/>
                <a:gd name="connsiteX2" fmla="*/ 1672324 w 3669459"/>
                <a:gd name="connsiteY2" fmla="*/ 285030 h 1962648"/>
                <a:gd name="connsiteX3" fmla="*/ 1738059 w 3669459"/>
                <a:gd name="connsiteY3" fmla="*/ 334803 h 1962648"/>
                <a:gd name="connsiteX4" fmla="*/ 2674656 w 3669459"/>
                <a:gd name="connsiteY4" fmla="*/ 627088 h 1962648"/>
                <a:gd name="connsiteX5" fmla="*/ 3401688 w 3669459"/>
                <a:gd name="connsiteY5" fmla="*/ 458222 h 1962648"/>
                <a:gd name="connsiteX6" fmla="*/ 3432627 w 3669459"/>
                <a:gd name="connsiteY6" fmla="*/ 441508 h 1962648"/>
                <a:gd name="connsiteX7" fmla="*/ 3430799 w 3669459"/>
                <a:gd name="connsiteY7" fmla="*/ 653070 h 1962648"/>
                <a:gd name="connsiteX8" fmla="*/ 3420561 w 3669459"/>
                <a:gd name="connsiteY8" fmla="*/ 734885 h 1962648"/>
                <a:gd name="connsiteX9" fmla="*/ 3390026 w 3669459"/>
                <a:gd name="connsiteY9" fmla="*/ 916866 h 1962648"/>
                <a:gd name="connsiteX10" fmla="*/ 3519218 w 3669459"/>
                <a:gd name="connsiteY10" fmla="*/ 1475824 h 1962648"/>
                <a:gd name="connsiteX11" fmla="*/ 3635370 w 3669459"/>
                <a:gd name="connsiteY11" fmla="*/ 1637130 h 1962648"/>
                <a:gd name="connsiteX12" fmla="*/ 3669459 w 3669459"/>
                <a:gd name="connsiteY12" fmla="*/ 1671916 h 1962648"/>
                <a:gd name="connsiteX13" fmla="*/ 3611254 w 3669459"/>
                <a:gd name="connsiteY13" fmla="*/ 1627845 h 1962648"/>
                <a:gd name="connsiteX14" fmla="*/ 2674657 w 3669459"/>
                <a:gd name="connsiteY14" fmla="*/ 1335560 h 1962648"/>
                <a:gd name="connsiteX15" fmla="*/ 1738060 w 3669459"/>
                <a:gd name="connsiteY15" fmla="*/ 1627845 h 1962648"/>
                <a:gd name="connsiteX16" fmla="*/ 1672313 w 3669459"/>
                <a:gd name="connsiteY16" fmla="*/ 1677627 h 1962648"/>
                <a:gd name="connsiteX17" fmla="*/ 1529992 w 3669459"/>
                <a:gd name="connsiteY17" fmla="*/ 1795053 h 1962648"/>
                <a:gd name="connsiteX18" fmla="*/ 981324 w 3669459"/>
                <a:gd name="connsiteY18" fmla="*/ 1962648 h 1962648"/>
                <a:gd name="connsiteX19" fmla="*/ 0 w 3669459"/>
                <a:gd name="connsiteY19" fmla="*/ 981324 h 1962648"/>
                <a:gd name="connsiteX20" fmla="*/ 981324 w 3669459"/>
                <a:gd name="connsiteY20" fmla="*/ 0 h 1962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669459" h="1962648">
                  <a:moveTo>
                    <a:pt x="981324" y="0"/>
                  </a:moveTo>
                  <a:cubicBezTo>
                    <a:pt x="1184563" y="0"/>
                    <a:pt x="1373371" y="61784"/>
                    <a:pt x="1529992" y="167595"/>
                  </a:cubicBezTo>
                  <a:lnTo>
                    <a:pt x="1672324" y="285030"/>
                  </a:lnTo>
                  <a:lnTo>
                    <a:pt x="1738059" y="334803"/>
                  </a:lnTo>
                  <a:cubicBezTo>
                    <a:pt x="2003912" y="519098"/>
                    <a:pt x="2326673" y="627088"/>
                    <a:pt x="2674656" y="627088"/>
                  </a:cubicBezTo>
                  <a:cubicBezTo>
                    <a:pt x="2935644" y="627088"/>
                    <a:pt x="3182443" y="566344"/>
                    <a:pt x="3401688" y="458222"/>
                  </a:cubicBezTo>
                  <a:lnTo>
                    <a:pt x="3432627" y="441508"/>
                  </a:lnTo>
                  <a:lnTo>
                    <a:pt x="3430799" y="653070"/>
                  </a:lnTo>
                  <a:lnTo>
                    <a:pt x="3420561" y="734885"/>
                  </a:lnTo>
                  <a:lnTo>
                    <a:pt x="3390026" y="916866"/>
                  </a:lnTo>
                  <a:cubicBezTo>
                    <a:pt x="3376701" y="1105409"/>
                    <a:pt x="3417599" y="1299814"/>
                    <a:pt x="3519218" y="1475824"/>
                  </a:cubicBezTo>
                  <a:cubicBezTo>
                    <a:pt x="3553091" y="1534494"/>
                    <a:pt x="3592108" y="1588343"/>
                    <a:pt x="3635370" y="1637130"/>
                  </a:cubicBezTo>
                  <a:lnTo>
                    <a:pt x="3669459" y="1671916"/>
                  </a:lnTo>
                  <a:lnTo>
                    <a:pt x="3611254" y="1627845"/>
                  </a:lnTo>
                  <a:cubicBezTo>
                    <a:pt x="3345400" y="1443550"/>
                    <a:pt x="3022640" y="1335560"/>
                    <a:pt x="2674657" y="1335560"/>
                  </a:cubicBezTo>
                  <a:cubicBezTo>
                    <a:pt x="2326674" y="1335560"/>
                    <a:pt x="2003913" y="1443550"/>
                    <a:pt x="1738060" y="1627845"/>
                  </a:cubicBezTo>
                  <a:lnTo>
                    <a:pt x="1672313" y="1677627"/>
                  </a:lnTo>
                  <a:lnTo>
                    <a:pt x="1529992" y="1795053"/>
                  </a:lnTo>
                  <a:cubicBezTo>
                    <a:pt x="1373371" y="1900864"/>
                    <a:pt x="1184563" y="1962648"/>
                    <a:pt x="981324" y="1962648"/>
                  </a:cubicBezTo>
                  <a:cubicBezTo>
                    <a:pt x="439354" y="1962648"/>
                    <a:pt x="0" y="1523294"/>
                    <a:pt x="0" y="981324"/>
                  </a:cubicBezTo>
                  <a:cubicBezTo>
                    <a:pt x="0" y="439354"/>
                    <a:pt x="439354" y="0"/>
                    <a:pt x="981324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Freeform 99">
              <a:extLst>
                <a:ext uri="{FF2B5EF4-FFF2-40B4-BE49-F238E27FC236}">
                  <a16:creationId xmlns:a16="http://schemas.microsoft.com/office/drawing/2014/main" id="{0370F74E-5A73-4C2B-AD7F-5BD26C70D1B4}"/>
                </a:ext>
              </a:extLst>
            </p:cNvPr>
            <p:cNvSpPr/>
            <p:nvPr/>
          </p:nvSpPr>
          <p:spPr>
            <a:xfrm rot="14400000">
              <a:off x="5559023" y="3163569"/>
              <a:ext cx="3696030" cy="1962648"/>
            </a:xfrm>
            <a:custGeom>
              <a:avLst/>
              <a:gdLst>
                <a:gd name="connsiteX0" fmla="*/ 3696030 w 3696030"/>
                <a:gd name="connsiteY0" fmla="*/ 1693327 h 1962648"/>
                <a:gd name="connsiteX1" fmla="*/ 3677001 w 3696030"/>
                <a:gd name="connsiteY1" fmla="*/ 1677627 h 1962648"/>
                <a:gd name="connsiteX2" fmla="*/ 3611254 w 3696030"/>
                <a:gd name="connsiteY2" fmla="*/ 1627845 h 1962648"/>
                <a:gd name="connsiteX3" fmla="*/ 2674657 w 3696030"/>
                <a:gd name="connsiteY3" fmla="*/ 1335560 h 1962648"/>
                <a:gd name="connsiteX4" fmla="*/ 1738060 w 3696030"/>
                <a:gd name="connsiteY4" fmla="*/ 1627845 h 1962648"/>
                <a:gd name="connsiteX5" fmla="*/ 1672313 w 3696030"/>
                <a:gd name="connsiteY5" fmla="*/ 1677627 h 1962648"/>
                <a:gd name="connsiteX6" fmla="*/ 1529992 w 3696030"/>
                <a:gd name="connsiteY6" fmla="*/ 1795053 h 1962648"/>
                <a:gd name="connsiteX7" fmla="*/ 981324 w 3696030"/>
                <a:gd name="connsiteY7" fmla="*/ 1962648 h 1962648"/>
                <a:gd name="connsiteX8" fmla="*/ 0 w 3696030"/>
                <a:gd name="connsiteY8" fmla="*/ 981324 h 1962648"/>
                <a:gd name="connsiteX9" fmla="*/ 981324 w 3696030"/>
                <a:gd name="connsiteY9" fmla="*/ 0 h 1962648"/>
                <a:gd name="connsiteX10" fmla="*/ 1529992 w 3696030"/>
                <a:gd name="connsiteY10" fmla="*/ 167595 h 1962648"/>
                <a:gd name="connsiteX11" fmla="*/ 1672324 w 3696030"/>
                <a:gd name="connsiteY11" fmla="*/ 285030 h 1962648"/>
                <a:gd name="connsiteX12" fmla="*/ 1738059 w 3696030"/>
                <a:gd name="connsiteY12" fmla="*/ 334803 h 1962648"/>
                <a:gd name="connsiteX13" fmla="*/ 2674656 w 3696030"/>
                <a:gd name="connsiteY13" fmla="*/ 627088 h 1962648"/>
                <a:gd name="connsiteX14" fmla="*/ 3401688 w 3696030"/>
                <a:gd name="connsiteY14" fmla="*/ 458222 h 1962648"/>
                <a:gd name="connsiteX15" fmla="*/ 3433935 w 3696030"/>
                <a:gd name="connsiteY15" fmla="*/ 440802 h 1962648"/>
                <a:gd name="connsiteX16" fmla="*/ 3436347 w 3696030"/>
                <a:gd name="connsiteY16" fmla="*/ 526033 h 1962648"/>
                <a:gd name="connsiteX17" fmla="*/ 3430797 w 3696030"/>
                <a:gd name="connsiteY17" fmla="*/ 647364 h 1962648"/>
                <a:gd name="connsiteX18" fmla="*/ 3420558 w 3696030"/>
                <a:gd name="connsiteY18" fmla="*/ 729194 h 1962648"/>
                <a:gd name="connsiteX19" fmla="*/ 3403231 w 3696030"/>
                <a:gd name="connsiteY19" fmla="*/ 832453 h 1962648"/>
                <a:gd name="connsiteX20" fmla="*/ 3399993 w 3696030"/>
                <a:gd name="connsiteY20" fmla="*/ 847348 h 1962648"/>
                <a:gd name="connsiteX21" fmla="*/ 3400811 w 3696030"/>
                <a:gd name="connsiteY21" fmla="*/ 846875 h 1962648"/>
                <a:gd name="connsiteX22" fmla="*/ 3390025 w 3696030"/>
                <a:gd name="connsiteY22" fmla="*/ 911161 h 1962648"/>
                <a:gd name="connsiteX23" fmla="*/ 3519217 w 3696030"/>
                <a:gd name="connsiteY23" fmla="*/ 1470118 h 1962648"/>
                <a:gd name="connsiteX24" fmla="*/ 3635368 w 3696030"/>
                <a:gd name="connsiteY24" fmla="*/ 1631424 h 1962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696030" h="1962648">
                  <a:moveTo>
                    <a:pt x="3696030" y="1693327"/>
                  </a:moveTo>
                  <a:lnTo>
                    <a:pt x="3677001" y="1677627"/>
                  </a:lnTo>
                  <a:lnTo>
                    <a:pt x="3611254" y="1627845"/>
                  </a:lnTo>
                  <a:cubicBezTo>
                    <a:pt x="3345400" y="1443550"/>
                    <a:pt x="3022640" y="1335560"/>
                    <a:pt x="2674657" y="1335560"/>
                  </a:cubicBezTo>
                  <a:cubicBezTo>
                    <a:pt x="2326674" y="1335560"/>
                    <a:pt x="2003913" y="1443550"/>
                    <a:pt x="1738060" y="1627845"/>
                  </a:cubicBezTo>
                  <a:lnTo>
                    <a:pt x="1672313" y="1677627"/>
                  </a:lnTo>
                  <a:lnTo>
                    <a:pt x="1529992" y="1795053"/>
                  </a:lnTo>
                  <a:cubicBezTo>
                    <a:pt x="1373371" y="1900864"/>
                    <a:pt x="1184563" y="1962648"/>
                    <a:pt x="981324" y="1962648"/>
                  </a:cubicBezTo>
                  <a:cubicBezTo>
                    <a:pt x="439354" y="1962649"/>
                    <a:pt x="0" y="1523294"/>
                    <a:pt x="0" y="981324"/>
                  </a:cubicBezTo>
                  <a:cubicBezTo>
                    <a:pt x="0" y="439354"/>
                    <a:pt x="439354" y="0"/>
                    <a:pt x="981324" y="0"/>
                  </a:cubicBezTo>
                  <a:cubicBezTo>
                    <a:pt x="1184563" y="0"/>
                    <a:pt x="1373371" y="61784"/>
                    <a:pt x="1529992" y="167595"/>
                  </a:cubicBezTo>
                  <a:lnTo>
                    <a:pt x="1672324" y="285030"/>
                  </a:lnTo>
                  <a:lnTo>
                    <a:pt x="1738059" y="334803"/>
                  </a:lnTo>
                  <a:cubicBezTo>
                    <a:pt x="2003912" y="519098"/>
                    <a:pt x="2326673" y="627088"/>
                    <a:pt x="2674656" y="627088"/>
                  </a:cubicBezTo>
                  <a:cubicBezTo>
                    <a:pt x="2935643" y="627088"/>
                    <a:pt x="3182443" y="566344"/>
                    <a:pt x="3401688" y="458222"/>
                  </a:cubicBezTo>
                  <a:lnTo>
                    <a:pt x="3433935" y="440802"/>
                  </a:lnTo>
                  <a:lnTo>
                    <a:pt x="3436347" y="526033"/>
                  </a:lnTo>
                  <a:cubicBezTo>
                    <a:pt x="3435989" y="566594"/>
                    <a:pt x="3434131" y="607066"/>
                    <a:pt x="3430797" y="647364"/>
                  </a:cubicBezTo>
                  <a:lnTo>
                    <a:pt x="3420558" y="729194"/>
                  </a:lnTo>
                  <a:lnTo>
                    <a:pt x="3403231" y="832453"/>
                  </a:lnTo>
                  <a:lnTo>
                    <a:pt x="3399993" y="847348"/>
                  </a:lnTo>
                  <a:lnTo>
                    <a:pt x="3400811" y="846875"/>
                  </a:lnTo>
                  <a:lnTo>
                    <a:pt x="3390025" y="911161"/>
                  </a:lnTo>
                  <a:cubicBezTo>
                    <a:pt x="3376700" y="1099703"/>
                    <a:pt x="3417597" y="1294108"/>
                    <a:pt x="3519217" y="1470118"/>
                  </a:cubicBezTo>
                  <a:cubicBezTo>
                    <a:pt x="3553090" y="1528788"/>
                    <a:pt x="3592106" y="1582637"/>
                    <a:pt x="3635368" y="1631424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B438CA01-FF9F-42B1-9804-6C705AA83CB2}"/>
                </a:ext>
              </a:extLst>
            </p:cNvPr>
            <p:cNvSpPr/>
            <p:nvPr/>
          </p:nvSpPr>
          <p:spPr>
            <a:xfrm rot="14400000">
              <a:off x="5266747" y="1082229"/>
              <a:ext cx="1760604" cy="176060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F3BB7617-7B22-4E09-9BCC-2059F4142437}"/>
                </a:ext>
              </a:extLst>
            </p:cNvPr>
            <p:cNvSpPr/>
            <p:nvPr/>
          </p:nvSpPr>
          <p:spPr>
            <a:xfrm rot="14400000">
              <a:off x="6960081" y="4015167"/>
              <a:ext cx="1760604" cy="176060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7E135B92-9047-47D8-82E8-C5B8B165F99F}"/>
                </a:ext>
              </a:extLst>
            </p:cNvPr>
            <p:cNvSpPr/>
            <p:nvPr/>
          </p:nvSpPr>
          <p:spPr>
            <a:xfrm rot="18000000">
              <a:off x="3571257" y="4015167"/>
              <a:ext cx="1760604" cy="176060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831827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7B7AA2-A2BA-4DD5-A0B9-23CE45BDD9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2507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D7B7AA2-A2BA-4DD5-A0B9-23CE45BDD9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2ECE0A0-056C-4C31-9AA5-5F7282CC9C2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1" i="0" baseline="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2F53B04-A1E0-4235-8379-A72737B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295" y="245592"/>
            <a:ext cx="11323410" cy="430887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US" sz="2800" b="1" dirty="0">
                <a:solidFill>
                  <a:schemeClr val="accent1"/>
                </a:solidFill>
              </a:defRPr>
            </a:lvl1pPr>
          </a:lstStyle>
          <a:p>
            <a:pPr marL="0" lvl="0">
              <a:lnSpc>
                <a:spcPct val="100000"/>
              </a:lnSpc>
            </a:pPr>
            <a:r>
              <a:rPr lang="en-US" dirty="0"/>
              <a:t>Click to edit Master title style</a:t>
            </a:r>
          </a:p>
        </p:txBody>
      </p:sp>
      <p:sp>
        <p:nvSpPr>
          <p:cNvPr id="85" name="Slide Number Placeholder 5">
            <a:extLst>
              <a:ext uri="{FF2B5EF4-FFF2-40B4-BE49-F238E27FC236}">
                <a16:creationId xmlns:a16="http://schemas.microsoft.com/office/drawing/2014/main" id="{F928F200-2E08-489C-A08F-6FEA239CCC74}"/>
              </a:ext>
            </a:extLst>
          </p:cNvPr>
          <p:cNvSpPr txBox="1">
            <a:spLocks/>
          </p:cNvSpPr>
          <p:nvPr userDrawn="1"/>
        </p:nvSpPr>
        <p:spPr>
          <a:xfrm>
            <a:off x="11433855" y="6592956"/>
            <a:ext cx="32385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375FF-E3D9-4885-B6AC-DEBBCC0A97C4}" type="slidenum">
              <a:rPr lang="en-US" sz="800" smtClean="0"/>
              <a:pPr algn="r"/>
              <a:t>‹#›</a:t>
            </a:fld>
            <a:endParaRPr lang="en-US" sz="800" dirty="0"/>
          </a:p>
        </p:txBody>
      </p:sp>
      <p:pic>
        <p:nvPicPr>
          <p:cNvPr id="58" name="Picture 57" descr="A picture containing drawing&#10;&#10;Description automatically generated">
            <a:extLst>
              <a:ext uri="{FF2B5EF4-FFF2-40B4-BE49-F238E27FC236}">
                <a16:creationId xmlns:a16="http://schemas.microsoft.com/office/drawing/2014/main" id="{A095706E-A8E4-40CE-BF41-084FB3DCA6F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34295" y="6218378"/>
            <a:ext cx="1215911" cy="394029"/>
          </a:xfrm>
          <a:prstGeom prst="rect">
            <a:avLst/>
          </a:prstGeom>
        </p:spPr>
      </p:pic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83D3C7F-D5E9-41C7-9DEC-F8AD232BAD3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812280" y="4940439"/>
            <a:ext cx="4567440" cy="246221"/>
          </a:xfrm>
        </p:spPr>
        <p:txBody>
          <a:bodyPr wrap="square" lIns="0" tIns="0" rIns="0" bIns="0" anchor="t">
            <a:spAutoFit/>
          </a:bodyPr>
          <a:lstStyle>
            <a:lvl1pPr marL="0" indent="0" algn="ctr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BF679C7-9F52-46A3-99D2-E2D70DCC8F7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024615" y="2062131"/>
            <a:ext cx="2994343" cy="246221"/>
          </a:xfrm>
        </p:spPr>
        <p:txBody>
          <a:bodyPr wrap="square" lIns="0" tIns="0" rIns="0" bIns="0" anchor="t">
            <a:spAutoFit/>
          </a:bodyPr>
          <a:lstStyle>
            <a:lvl1pPr marL="0" indent="0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A9AA2AC9-C456-4FA4-BF87-35CBCB311DA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79611" y="2062131"/>
            <a:ext cx="3212886" cy="246221"/>
          </a:xfrm>
        </p:spPr>
        <p:txBody>
          <a:bodyPr wrap="square" lIns="0" tIns="0" rIns="0" bIns="0" anchor="t">
            <a:spAutoFit/>
          </a:bodyPr>
          <a:lstStyle>
            <a:lvl1pPr marL="0" indent="0" algn="r">
              <a:lnSpc>
                <a:spcPct val="100000"/>
              </a:lnSpc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1pPr>
            <a:lvl2pPr marL="457200" indent="0">
              <a:buFontTx/>
              <a:buNone/>
              <a:defRPr sz="1200" b="1">
                <a:latin typeface="+mj-lt"/>
              </a:defRPr>
            </a:lvl2pPr>
            <a:lvl3pPr marL="914400" indent="0">
              <a:buFontTx/>
              <a:buNone/>
              <a:defRPr sz="1200" b="1">
                <a:latin typeface="+mj-lt"/>
              </a:defRPr>
            </a:lvl3pPr>
            <a:lvl4pPr marL="1371600" indent="0">
              <a:buFontTx/>
              <a:buNone/>
              <a:defRPr sz="1200" b="1">
                <a:latin typeface="+mj-lt"/>
              </a:defRPr>
            </a:lvl4pPr>
            <a:lvl5pPr marL="1828800" indent="0">
              <a:buFontTx/>
              <a:buNone/>
              <a:defRPr sz="1200" b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D810A56-E0A9-4ED8-8EFD-478CB672364B}"/>
              </a:ext>
            </a:extLst>
          </p:cNvPr>
          <p:cNvSpPr/>
          <p:nvPr userDrawn="1"/>
        </p:nvSpPr>
        <p:spPr>
          <a:xfrm flipH="1">
            <a:off x="0" y="0"/>
            <a:ext cx="12192000" cy="4571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50000">
                <a:schemeClr val="accent3"/>
              </a:gs>
              <a:gs pos="100000">
                <a:schemeClr val="accent4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 532">
            <a:extLst>
              <a:ext uri="{FF2B5EF4-FFF2-40B4-BE49-F238E27FC236}">
                <a16:creationId xmlns:a16="http://schemas.microsoft.com/office/drawing/2014/main" id="{57690C0D-1032-4C28-BCCB-7DD5243513AB}"/>
              </a:ext>
            </a:extLst>
          </p:cNvPr>
          <p:cNvSpPr>
            <a:spLocks/>
          </p:cNvSpPr>
          <p:nvPr/>
        </p:nvSpPr>
        <p:spPr bwMode="auto">
          <a:xfrm>
            <a:off x="4312920" y="1055133"/>
            <a:ext cx="2044104" cy="2570790"/>
          </a:xfrm>
          <a:custGeom>
            <a:avLst/>
            <a:gdLst>
              <a:gd name="T0" fmla="*/ 1807 w 3522"/>
              <a:gd name="T1" fmla="*/ 3523 h 4429"/>
              <a:gd name="T2" fmla="*/ 1745 w 3522"/>
              <a:gd name="T3" fmla="*/ 3273 h 4429"/>
              <a:gd name="T4" fmla="*/ 1730 w 3522"/>
              <a:gd name="T5" fmla="*/ 3074 h 4429"/>
              <a:gd name="T6" fmla="*/ 1745 w 3522"/>
              <a:gd name="T7" fmla="*/ 2871 h 4429"/>
              <a:gd name="T8" fmla="*/ 1809 w 3522"/>
              <a:gd name="T9" fmla="*/ 2616 h 4429"/>
              <a:gd name="T10" fmla="*/ 1920 w 3522"/>
              <a:gd name="T11" fmla="*/ 2383 h 4429"/>
              <a:gd name="T12" fmla="*/ 2071 w 3522"/>
              <a:gd name="T13" fmla="*/ 2178 h 4429"/>
              <a:gd name="T14" fmla="*/ 2259 w 3522"/>
              <a:gd name="T15" fmla="*/ 2004 h 4429"/>
              <a:gd name="T16" fmla="*/ 2476 w 3522"/>
              <a:gd name="T17" fmla="*/ 1870 h 4429"/>
              <a:gd name="T18" fmla="*/ 2719 w 3522"/>
              <a:gd name="T19" fmla="*/ 1777 h 4429"/>
              <a:gd name="T20" fmla="*/ 2981 w 3522"/>
              <a:gd name="T21" fmla="*/ 1733 h 4429"/>
              <a:gd name="T22" fmla="*/ 3522 w 3522"/>
              <a:gd name="T23" fmla="*/ 860 h 4429"/>
              <a:gd name="T24" fmla="*/ 2972 w 3522"/>
              <a:gd name="T25" fmla="*/ 2 h 4429"/>
              <a:gd name="T26" fmla="*/ 2661 w 3522"/>
              <a:gd name="T27" fmla="*/ 28 h 4429"/>
              <a:gd name="T28" fmla="*/ 2360 w 3522"/>
              <a:gd name="T29" fmla="*/ 83 h 4429"/>
              <a:gd name="T30" fmla="*/ 2071 w 3522"/>
              <a:gd name="T31" fmla="*/ 168 h 4429"/>
              <a:gd name="T32" fmla="*/ 1794 w 3522"/>
              <a:gd name="T33" fmla="*/ 278 h 4429"/>
              <a:gd name="T34" fmla="*/ 1531 w 3522"/>
              <a:gd name="T35" fmla="*/ 414 h 4429"/>
              <a:gd name="T36" fmla="*/ 1283 w 3522"/>
              <a:gd name="T37" fmla="*/ 575 h 4429"/>
              <a:gd name="T38" fmla="*/ 1052 w 3522"/>
              <a:gd name="T39" fmla="*/ 757 h 4429"/>
              <a:gd name="T40" fmla="*/ 841 w 3522"/>
              <a:gd name="T41" fmla="*/ 961 h 4429"/>
              <a:gd name="T42" fmla="*/ 649 w 3522"/>
              <a:gd name="T43" fmla="*/ 1183 h 4429"/>
              <a:gd name="T44" fmla="*/ 480 w 3522"/>
              <a:gd name="T45" fmla="*/ 1424 h 4429"/>
              <a:gd name="T46" fmla="*/ 333 w 3522"/>
              <a:gd name="T47" fmla="*/ 1680 h 4429"/>
              <a:gd name="T48" fmla="*/ 211 w 3522"/>
              <a:gd name="T49" fmla="*/ 1951 h 4429"/>
              <a:gd name="T50" fmla="*/ 115 w 3522"/>
              <a:gd name="T51" fmla="*/ 2235 h 4429"/>
              <a:gd name="T52" fmla="*/ 47 w 3522"/>
              <a:gd name="T53" fmla="*/ 2532 h 4429"/>
              <a:gd name="T54" fmla="*/ 8 w 3522"/>
              <a:gd name="T55" fmla="*/ 2838 h 4429"/>
              <a:gd name="T56" fmla="*/ 0 w 3522"/>
              <a:gd name="T57" fmla="*/ 3074 h 4429"/>
              <a:gd name="T58" fmla="*/ 12 w 3522"/>
              <a:gd name="T59" fmla="*/ 3345 h 4429"/>
              <a:gd name="T60" fmla="*/ 62 w 3522"/>
              <a:gd name="T61" fmla="*/ 3694 h 4429"/>
              <a:gd name="T62" fmla="*/ 152 w 3522"/>
              <a:gd name="T63" fmla="*/ 4031 h 4429"/>
              <a:gd name="T64" fmla="*/ 277 w 3522"/>
              <a:gd name="T65" fmla="*/ 4352 h 4429"/>
              <a:gd name="T66" fmla="*/ 811 w 3522"/>
              <a:gd name="T67" fmla="*/ 3610 h 4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522" h="4429">
                <a:moveTo>
                  <a:pt x="1830" y="3583"/>
                </a:moveTo>
                <a:lnTo>
                  <a:pt x="1807" y="3523"/>
                </a:lnTo>
                <a:lnTo>
                  <a:pt x="1769" y="3400"/>
                </a:lnTo>
                <a:lnTo>
                  <a:pt x="1745" y="3273"/>
                </a:lnTo>
                <a:lnTo>
                  <a:pt x="1730" y="3141"/>
                </a:lnTo>
                <a:lnTo>
                  <a:pt x="1730" y="3074"/>
                </a:lnTo>
                <a:lnTo>
                  <a:pt x="1730" y="3005"/>
                </a:lnTo>
                <a:lnTo>
                  <a:pt x="1745" y="2871"/>
                </a:lnTo>
                <a:lnTo>
                  <a:pt x="1770" y="2741"/>
                </a:lnTo>
                <a:lnTo>
                  <a:pt x="1809" y="2616"/>
                </a:lnTo>
                <a:lnTo>
                  <a:pt x="1859" y="2497"/>
                </a:lnTo>
                <a:lnTo>
                  <a:pt x="1920" y="2383"/>
                </a:lnTo>
                <a:lnTo>
                  <a:pt x="1991" y="2276"/>
                </a:lnTo>
                <a:lnTo>
                  <a:pt x="2071" y="2178"/>
                </a:lnTo>
                <a:lnTo>
                  <a:pt x="2161" y="2087"/>
                </a:lnTo>
                <a:lnTo>
                  <a:pt x="2259" y="2004"/>
                </a:lnTo>
                <a:lnTo>
                  <a:pt x="2364" y="1932"/>
                </a:lnTo>
                <a:lnTo>
                  <a:pt x="2476" y="1870"/>
                </a:lnTo>
                <a:lnTo>
                  <a:pt x="2595" y="1818"/>
                </a:lnTo>
                <a:lnTo>
                  <a:pt x="2719" y="1777"/>
                </a:lnTo>
                <a:lnTo>
                  <a:pt x="2848" y="1749"/>
                </a:lnTo>
                <a:lnTo>
                  <a:pt x="2981" y="1733"/>
                </a:lnTo>
                <a:lnTo>
                  <a:pt x="3050" y="1731"/>
                </a:lnTo>
                <a:lnTo>
                  <a:pt x="3522" y="860"/>
                </a:lnTo>
                <a:lnTo>
                  <a:pt x="3051" y="0"/>
                </a:lnTo>
                <a:lnTo>
                  <a:pt x="2972" y="2"/>
                </a:lnTo>
                <a:lnTo>
                  <a:pt x="2815" y="11"/>
                </a:lnTo>
                <a:lnTo>
                  <a:pt x="2661" y="28"/>
                </a:lnTo>
                <a:lnTo>
                  <a:pt x="2509" y="51"/>
                </a:lnTo>
                <a:lnTo>
                  <a:pt x="2360" y="83"/>
                </a:lnTo>
                <a:lnTo>
                  <a:pt x="2215" y="122"/>
                </a:lnTo>
                <a:lnTo>
                  <a:pt x="2071" y="168"/>
                </a:lnTo>
                <a:lnTo>
                  <a:pt x="1931" y="220"/>
                </a:lnTo>
                <a:lnTo>
                  <a:pt x="1794" y="278"/>
                </a:lnTo>
                <a:lnTo>
                  <a:pt x="1660" y="343"/>
                </a:lnTo>
                <a:lnTo>
                  <a:pt x="1531" y="414"/>
                </a:lnTo>
                <a:lnTo>
                  <a:pt x="1405" y="492"/>
                </a:lnTo>
                <a:lnTo>
                  <a:pt x="1283" y="575"/>
                </a:lnTo>
                <a:lnTo>
                  <a:pt x="1166" y="663"/>
                </a:lnTo>
                <a:lnTo>
                  <a:pt x="1052" y="757"/>
                </a:lnTo>
                <a:lnTo>
                  <a:pt x="945" y="856"/>
                </a:lnTo>
                <a:lnTo>
                  <a:pt x="841" y="961"/>
                </a:lnTo>
                <a:lnTo>
                  <a:pt x="743" y="1070"/>
                </a:lnTo>
                <a:lnTo>
                  <a:pt x="649" y="1183"/>
                </a:lnTo>
                <a:lnTo>
                  <a:pt x="561" y="1301"/>
                </a:lnTo>
                <a:lnTo>
                  <a:pt x="480" y="1424"/>
                </a:lnTo>
                <a:lnTo>
                  <a:pt x="403" y="1549"/>
                </a:lnTo>
                <a:lnTo>
                  <a:pt x="333" y="1680"/>
                </a:lnTo>
                <a:lnTo>
                  <a:pt x="268" y="1814"/>
                </a:lnTo>
                <a:lnTo>
                  <a:pt x="211" y="1951"/>
                </a:lnTo>
                <a:lnTo>
                  <a:pt x="159" y="2092"/>
                </a:lnTo>
                <a:lnTo>
                  <a:pt x="115" y="2235"/>
                </a:lnTo>
                <a:lnTo>
                  <a:pt x="78" y="2383"/>
                </a:lnTo>
                <a:lnTo>
                  <a:pt x="47" y="2532"/>
                </a:lnTo>
                <a:lnTo>
                  <a:pt x="23" y="2683"/>
                </a:lnTo>
                <a:lnTo>
                  <a:pt x="8" y="2838"/>
                </a:lnTo>
                <a:lnTo>
                  <a:pt x="0" y="2995"/>
                </a:lnTo>
                <a:lnTo>
                  <a:pt x="0" y="3074"/>
                </a:lnTo>
                <a:lnTo>
                  <a:pt x="0" y="3164"/>
                </a:lnTo>
                <a:lnTo>
                  <a:pt x="12" y="3345"/>
                </a:lnTo>
                <a:lnTo>
                  <a:pt x="31" y="3521"/>
                </a:lnTo>
                <a:lnTo>
                  <a:pt x="62" y="3694"/>
                </a:lnTo>
                <a:lnTo>
                  <a:pt x="102" y="3866"/>
                </a:lnTo>
                <a:lnTo>
                  <a:pt x="152" y="4031"/>
                </a:lnTo>
                <a:lnTo>
                  <a:pt x="210" y="4193"/>
                </a:lnTo>
                <a:lnTo>
                  <a:pt x="277" y="4352"/>
                </a:lnTo>
                <a:lnTo>
                  <a:pt x="314" y="4429"/>
                </a:lnTo>
                <a:lnTo>
                  <a:pt x="811" y="3610"/>
                </a:lnTo>
                <a:lnTo>
                  <a:pt x="1830" y="358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82296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4" name="Freeform 533">
            <a:extLst>
              <a:ext uri="{FF2B5EF4-FFF2-40B4-BE49-F238E27FC236}">
                <a16:creationId xmlns:a16="http://schemas.microsoft.com/office/drawing/2014/main" id="{1899975C-E622-4F1F-A633-98956BA99D14}"/>
              </a:ext>
            </a:extLst>
          </p:cNvPr>
          <p:cNvSpPr>
            <a:spLocks/>
          </p:cNvSpPr>
          <p:nvPr/>
        </p:nvSpPr>
        <p:spPr bwMode="auto">
          <a:xfrm>
            <a:off x="6192288" y="1059773"/>
            <a:ext cx="1686792" cy="2665919"/>
          </a:xfrm>
          <a:custGeom>
            <a:avLst/>
            <a:gdLst>
              <a:gd name="T0" fmla="*/ 62 w 2908"/>
              <a:gd name="T1" fmla="*/ 1743 h 4598"/>
              <a:gd name="T2" fmla="*/ 299 w 2908"/>
              <a:gd name="T3" fmla="*/ 1806 h 4598"/>
              <a:gd name="T4" fmla="*/ 517 w 2908"/>
              <a:gd name="T5" fmla="*/ 1910 h 4598"/>
              <a:gd name="T6" fmla="*/ 711 w 2908"/>
              <a:gd name="T7" fmla="*/ 2049 h 4598"/>
              <a:gd name="T8" fmla="*/ 877 w 2908"/>
              <a:gd name="T9" fmla="*/ 2220 h 4598"/>
              <a:gd name="T10" fmla="*/ 1011 w 2908"/>
              <a:gd name="T11" fmla="*/ 2417 h 4598"/>
              <a:gd name="T12" fmla="*/ 1108 w 2908"/>
              <a:gd name="T13" fmla="*/ 2639 h 4598"/>
              <a:gd name="T14" fmla="*/ 1165 w 2908"/>
              <a:gd name="T15" fmla="*/ 2878 h 4598"/>
              <a:gd name="T16" fmla="*/ 1178 w 2908"/>
              <a:gd name="T17" fmla="*/ 3068 h 4598"/>
              <a:gd name="T18" fmla="*/ 1171 w 2908"/>
              <a:gd name="T19" fmla="*/ 3205 h 4598"/>
              <a:gd name="T20" fmla="*/ 1104 w 2908"/>
              <a:gd name="T21" fmla="*/ 3508 h 4598"/>
              <a:gd name="T22" fmla="*/ 995 w 2908"/>
              <a:gd name="T23" fmla="*/ 3744 h 4598"/>
              <a:gd name="T24" fmla="*/ 2500 w 2908"/>
              <a:gd name="T25" fmla="*/ 4598 h 4598"/>
              <a:gd name="T26" fmla="*/ 2635 w 2908"/>
              <a:gd name="T27" fmla="*/ 4338 h 4598"/>
              <a:gd name="T28" fmla="*/ 2775 w 2908"/>
              <a:gd name="T29" fmla="*/ 3968 h 4598"/>
              <a:gd name="T30" fmla="*/ 2867 w 2908"/>
              <a:gd name="T31" fmla="*/ 3578 h 4598"/>
              <a:gd name="T32" fmla="*/ 2907 w 2908"/>
              <a:gd name="T33" fmla="*/ 3171 h 4598"/>
              <a:gd name="T34" fmla="*/ 2907 w 2908"/>
              <a:gd name="T35" fmla="*/ 2991 h 4598"/>
              <a:gd name="T36" fmla="*/ 2885 w 2908"/>
              <a:gd name="T37" fmla="*/ 2689 h 4598"/>
              <a:gd name="T38" fmla="*/ 2834 w 2908"/>
              <a:gd name="T39" fmla="*/ 2396 h 4598"/>
              <a:gd name="T40" fmla="*/ 2758 w 2908"/>
              <a:gd name="T41" fmla="*/ 2114 h 4598"/>
              <a:gd name="T42" fmla="*/ 2654 w 2908"/>
              <a:gd name="T43" fmla="*/ 1843 h 4598"/>
              <a:gd name="T44" fmla="*/ 2527 w 2908"/>
              <a:gd name="T45" fmla="*/ 1585 h 4598"/>
              <a:gd name="T46" fmla="*/ 2378 w 2908"/>
              <a:gd name="T47" fmla="*/ 1341 h 4598"/>
              <a:gd name="T48" fmla="*/ 2207 w 2908"/>
              <a:gd name="T49" fmla="*/ 1113 h 4598"/>
              <a:gd name="T50" fmla="*/ 2015 w 2908"/>
              <a:gd name="T51" fmla="*/ 902 h 4598"/>
              <a:gd name="T52" fmla="*/ 1805 w 2908"/>
              <a:gd name="T53" fmla="*/ 709 h 4598"/>
              <a:gd name="T54" fmla="*/ 1578 w 2908"/>
              <a:gd name="T55" fmla="*/ 536 h 4598"/>
              <a:gd name="T56" fmla="*/ 1336 w 2908"/>
              <a:gd name="T57" fmla="*/ 385 h 4598"/>
              <a:gd name="T58" fmla="*/ 1079 w 2908"/>
              <a:gd name="T59" fmla="*/ 256 h 4598"/>
              <a:gd name="T60" fmla="*/ 808 w 2908"/>
              <a:gd name="T61" fmla="*/ 151 h 4598"/>
              <a:gd name="T62" fmla="*/ 527 w 2908"/>
              <a:gd name="T63" fmla="*/ 72 h 4598"/>
              <a:gd name="T64" fmla="*/ 234 w 2908"/>
              <a:gd name="T65" fmla="*/ 20 h 4598"/>
              <a:gd name="T66" fmla="*/ 10 w 2908"/>
              <a:gd name="T67" fmla="*/ 0 h 4598"/>
              <a:gd name="T68" fmla="*/ 0 w 2908"/>
              <a:gd name="T69" fmla="*/ 1735 h 45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08" h="4598">
                <a:moveTo>
                  <a:pt x="0" y="1735"/>
                </a:moveTo>
                <a:lnTo>
                  <a:pt x="62" y="1743"/>
                </a:lnTo>
                <a:lnTo>
                  <a:pt x="182" y="1770"/>
                </a:lnTo>
                <a:lnTo>
                  <a:pt x="299" y="1806"/>
                </a:lnTo>
                <a:lnTo>
                  <a:pt x="411" y="1853"/>
                </a:lnTo>
                <a:lnTo>
                  <a:pt x="517" y="1910"/>
                </a:lnTo>
                <a:lnTo>
                  <a:pt x="617" y="1975"/>
                </a:lnTo>
                <a:lnTo>
                  <a:pt x="711" y="2049"/>
                </a:lnTo>
                <a:lnTo>
                  <a:pt x="798" y="2131"/>
                </a:lnTo>
                <a:lnTo>
                  <a:pt x="877" y="2220"/>
                </a:lnTo>
                <a:lnTo>
                  <a:pt x="948" y="2316"/>
                </a:lnTo>
                <a:lnTo>
                  <a:pt x="1011" y="2417"/>
                </a:lnTo>
                <a:lnTo>
                  <a:pt x="1064" y="2526"/>
                </a:lnTo>
                <a:lnTo>
                  <a:pt x="1108" y="2639"/>
                </a:lnTo>
                <a:lnTo>
                  <a:pt x="1142" y="2757"/>
                </a:lnTo>
                <a:lnTo>
                  <a:pt x="1165" y="2878"/>
                </a:lnTo>
                <a:lnTo>
                  <a:pt x="1177" y="3004"/>
                </a:lnTo>
                <a:lnTo>
                  <a:pt x="1178" y="3068"/>
                </a:lnTo>
                <a:lnTo>
                  <a:pt x="1178" y="3114"/>
                </a:lnTo>
                <a:lnTo>
                  <a:pt x="1171" y="3205"/>
                </a:lnTo>
                <a:lnTo>
                  <a:pt x="1152" y="3339"/>
                </a:lnTo>
                <a:lnTo>
                  <a:pt x="1104" y="3508"/>
                </a:lnTo>
                <a:lnTo>
                  <a:pt x="1037" y="3669"/>
                </a:lnTo>
                <a:lnTo>
                  <a:pt x="995" y="3744"/>
                </a:lnTo>
                <a:lnTo>
                  <a:pt x="1504" y="4576"/>
                </a:lnTo>
                <a:lnTo>
                  <a:pt x="2500" y="4598"/>
                </a:lnTo>
                <a:lnTo>
                  <a:pt x="2548" y="4513"/>
                </a:lnTo>
                <a:lnTo>
                  <a:pt x="2635" y="4338"/>
                </a:lnTo>
                <a:lnTo>
                  <a:pt x="2710" y="4156"/>
                </a:lnTo>
                <a:lnTo>
                  <a:pt x="2775" y="3968"/>
                </a:lnTo>
                <a:lnTo>
                  <a:pt x="2827" y="3777"/>
                </a:lnTo>
                <a:lnTo>
                  <a:pt x="2867" y="3578"/>
                </a:lnTo>
                <a:lnTo>
                  <a:pt x="2893" y="3377"/>
                </a:lnTo>
                <a:lnTo>
                  <a:pt x="2907" y="3171"/>
                </a:lnTo>
                <a:lnTo>
                  <a:pt x="2908" y="3068"/>
                </a:lnTo>
                <a:lnTo>
                  <a:pt x="2907" y="2991"/>
                </a:lnTo>
                <a:lnTo>
                  <a:pt x="2900" y="2839"/>
                </a:lnTo>
                <a:lnTo>
                  <a:pt x="2885" y="2689"/>
                </a:lnTo>
                <a:lnTo>
                  <a:pt x="2864" y="2541"/>
                </a:lnTo>
                <a:lnTo>
                  <a:pt x="2834" y="2396"/>
                </a:lnTo>
                <a:lnTo>
                  <a:pt x="2799" y="2254"/>
                </a:lnTo>
                <a:lnTo>
                  <a:pt x="2758" y="2114"/>
                </a:lnTo>
                <a:lnTo>
                  <a:pt x="2709" y="1976"/>
                </a:lnTo>
                <a:lnTo>
                  <a:pt x="2654" y="1843"/>
                </a:lnTo>
                <a:lnTo>
                  <a:pt x="2595" y="1712"/>
                </a:lnTo>
                <a:lnTo>
                  <a:pt x="2527" y="1585"/>
                </a:lnTo>
                <a:lnTo>
                  <a:pt x="2456" y="1460"/>
                </a:lnTo>
                <a:lnTo>
                  <a:pt x="2378" y="1341"/>
                </a:lnTo>
                <a:lnTo>
                  <a:pt x="2295" y="1225"/>
                </a:lnTo>
                <a:lnTo>
                  <a:pt x="2207" y="1113"/>
                </a:lnTo>
                <a:lnTo>
                  <a:pt x="2114" y="1005"/>
                </a:lnTo>
                <a:lnTo>
                  <a:pt x="2015" y="902"/>
                </a:lnTo>
                <a:lnTo>
                  <a:pt x="1913" y="803"/>
                </a:lnTo>
                <a:lnTo>
                  <a:pt x="1805" y="709"/>
                </a:lnTo>
                <a:lnTo>
                  <a:pt x="1694" y="621"/>
                </a:lnTo>
                <a:lnTo>
                  <a:pt x="1578" y="536"/>
                </a:lnTo>
                <a:lnTo>
                  <a:pt x="1459" y="459"/>
                </a:lnTo>
                <a:lnTo>
                  <a:pt x="1336" y="385"/>
                </a:lnTo>
                <a:lnTo>
                  <a:pt x="1209" y="319"/>
                </a:lnTo>
                <a:lnTo>
                  <a:pt x="1079" y="256"/>
                </a:lnTo>
                <a:lnTo>
                  <a:pt x="946" y="201"/>
                </a:lnTo>
                <a:lnTo>
                  <a:pt x="808" y="151"/>
                </a:lnTo>
                <a:lnTo>
                  <a:pt x="670" y="109"/>
                </a:lnTo>
                <a:lnTo>
                  <a:pt x="527" y="72"/>
                </a:lnTo>
                <a:lnTo>
                  <a:pt x="382" y="42"/>
                </a:lnTo>
                <a:lnTo>
                  <a:pt x="234" y="20"/>
                </a:lnTo>
                <a:lnTo>
                  <a:pt x="85" y="5"/>
                </a:lnTo>
                <a:lnTo>
                  <a:pt x="10" y="0"/>
                </a:lnTo>
                <a:lnTo>
                  <a:pt x="478" y="854"/>
                </a:lnTo>
                <a:lnTo>
                  <a:pt x="0" y="173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45720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25" name="Freeform 534">
            <a:extLst>
              <a:ext uri="{FF2B5EF4-FFF2-40B4-BE49-F238E27FC236}">
                <a16:creationId xmlns:a16="http://schemas.microsoft.com/office/drawing/2014/main" id="{BF6B5859-208C-45C3-B07A-73D5C09F33AA}"/>
              </a:ext>
            </a:extLst>
          </p:cNvPr>
          <p:cNvSpPr>
            <a:spLocks/>
          </p:cNvSpPr>
          <p:nvPr/>
        </p:nvSpPr>
        <p:spPr bwMode="auto">
          <a:xfrm>
            <a:off x="4549581" y="3231488"/>
            <a:ext cx="3032512" cy="1389805"/>
          </a:xfrm>
          <a:custGeom>
            <a:avLst/>
            <a:gdLst>
              <a:gd name="T0" fmla="*/ 3720 w 5227"/>
              <a:gd name="T1" fmla="*/ 155 h 2396"/>
              <a:gd name="T2" fmla="*/ 3673 w 5227"/>
              <a:gd name="T3" fmla="*/ 212 h 2396"/>
              <a:gd name="T4" fmla="*/ 3568 w 5227"/>
              <a:gd name="T5" fmla="*/ 318 h 2396"/>
              <a:gd name="T6" fmla="*/ 3453 w 5227"/>
              <a:gd name="T7" fmla="*/ 411 h 2396"/>
              <a:gd name="T8" fmla="*/ 3327 w 5227"/>
              <a:gd name="T9" fmla="*/ 492 h 2396"/>
              <a:gd name="T10" fmla="*/ 3194 w 5227"/>
              <a:gd name="T11" fmla="*/ 559 h 2396"/>
              <a:gd name="T12" fmla="*/ 3051 w 5227"/>
              <a:gd name="T13" fmla="*/ 611 h 2396"/>
              <a:gd name="T14" fmla="*/ 2901 w 5227"/>
              <a:gd name="T15" fmla="*/ 646 h 2396"/>
              <a:gd name="T16" fmla="*/ 2745 w 5227"/>
              <a:gd name="T17" fmla="*/ 664 h 2396"/>
              <a:gd name="T18" fmla="*/ 2666 w 5227"/>
              <a:gd name="T19" fmla="*/ 665 h 2396"/>
              <a:gd name="T20" fmla="*/ 2619 w 5227"/>
              <a:gd name="T21" fmla="*/ 665 h 2396"/>
              <a:gd name="T22" fmla="*/ 2529 w 5227"/>
              <a:gd name="T23" fmla="*/ 659 h 2396"/>
              <a:gd name="T24" fmla="*/ 2395 w 5227"/>
              <a:gd name="T25" fmla="*/ 639 h 2396"/>
              <a:gd name="T26" fmla="*/ 2224 w 5227"/>
              <a:gd name="T27" fmla="*/ 593 h 2396"/>
              <a:gd name="T28" fmla="*/ 2063 w 5227"/>
              <a:gd name="T29" fmla="*/ 524 h 2396"/>
              <a:gd name="T30" fmla="*/ 1914 w 5227"/>
              <a:gd name="T31" fmla="*/ 437 h 2396"/>
              <a:gd name="T32" fmla="*/ 1778 w 5227"/>
              <a:gd name="T33" fmla="*/ 332 h 2396"/>
              <a:gd name="T34" fmla="*/ 1658 w 5227"/>
              <a:gd name="T35" fmla="*/ 210 h 2396"/>
              <a:gd name="T36" fmla="*/ 1551 w 5227"/>
              <a:gd name="T37" fmla="*/ 74 h 2396"/>
              <a:gd name="T38" fmla="*/ 1506 w 5227"/>
              <a:gd name="T39" fmla="*/ 0 h 2396"/>
              <a:gd name="T40" fmla="*/ 502 w 5227"/>
              <a:gd name="T41" fmla="*/ 28 h 2396"/>
              <a:gd name="T42" fmla="*/ 0 w 5227"/>
              <a:gd name="T43" fmla="*/ 853 h 2396"/>
              <a:gd name="T44" fmla="*/ 50 w 5227"/>
              <a:gd name="T45" fmla="*/ 939 h 2396"/>
              <a:gd name="T46" fmla="*/ 161 w 5227"/>
              <a:gd name="T47" fmla="*/ 1105 h 2396"/>
              <a:gd name="T48" fmla="*/ 281 w 5227"/>
              <a:gd name="T49" fmla="*/ 1263 h 2396"/>
              <a:gd name="T50" fmla="*/ 412 w 5227"/>
              <a:gd name="T51" fmla="*/ 1412 h 2396"/>
              <a:gd name="T52" fmla="*/ 551 w 5227"/>
              <a:gd name="T53" fmla="*/ 1553 h 2396"/>
              <a:gd name="T54" fmla="*/ 699 w 5227"/>
              <a:gd name="T55" fmla="*/ 1684 h 2396"/>
              <a:gd name="T56" fmla="*/ 855 w 5227"/>
              <a:gd name="T57" fmla="*/ 1806 h 2396"/>
              <a:gd name="T58" fmla="*/ 1020 w 5227"/>
              <a:gd name="T59" fmla="*/ 1919 h 2396"/>
              <a:gd name="T60" fmla="*/ 1191 w 5227"/>
              <a:gd name="T61" fmla="*/ 2020 h 2396"/>
              <a:gd name="T62" fmla="*/ 1370 w 5227"/>
              <a:gd name="T63" fmla="*/ 2111 h 2396"/>
              <a:gd name="T64" fmla="*/ 1554 w 5227"/>
              <a:gd name="T65" fmla="*/ 2190 h 2396"/>
              <a:gd name="T66" fmla="*/ 1746 w 5227"/>
              <a:gd name="T67" fmla="*/ 2256 h 2396"/>
              <a:gd name="T68" fmla="*/ 1942 w 5227"/>
              <a:gd name="T69" fmla="*/ 2310 h 2396"/>
              <a:gd name="T70" fmla="*/ 2144 w 5227"/>
              <a:gd name="T71" fmla="*/ 2352 h 2396"/>
              <a:gd name="T72" fmla="*/ 2349 w 5227"/>
              <a:gd name="T73" fmla="*/ 2380 h 2396"/>
              <a:gd name="T74" fmla="*/ 2560 w 5227"/>
              <a:gd name="T75" fmla="*/ 2394 h 2396"/>
              <a:gd name="T76" fmla="*/ 2666 w 5227"/>
              <a:gd name="T77" fmla="*/ 2396 h 2396"/>
              <a:gd name="T78" fmla="*/ 2766 w 5227"/>
              <a:gd name="T79" fmla="*/ 2394 h 2396"/>
              <a:gd name="T80" fmla="*/ 2963 w 5227"/>
              <a:gd name="T81" fmla="*/ 2381 h 2396"/>
              <a:gd name="T82" fmla="*/ 3157 w 5227"/>
              <a:gd name="T83" fmla="*/ 2357 h 2396"/>
              <a:gd name="T84" fmla="*/ 3347 w 5227"/>
              <a:gd name="T85" fmla="*/ 2321 h 2396"/>
              <a:gd name="T86" fmla="*/ 3532 w 5227"/>
              <a:gd name="T87" fmla="*/ 2273 h 2396"/>
              <a:gd name="T88" fmla="*/ 3712 w 5227"/>
              <a:gd name="T89" fmla="*/ 2213 h 2396"/>
              <a:gd name="T90" fmla="*/ 3888 w 5227"/>
              <a:gd name="T91" fmla="*/ 2143 h 2396"/>
              <a:gd name="T92" fmla="*/ 4058 w 5227"/>
              <a:gd name="T93" fmla="*/ 2064 h 2396"/>
              <a:gd name="T94" fmla="*/ 4223 w 5227"/>
              <a:gd name="T95" fmla="*/ 1973 h 2396"/>
              <a:gd name="T96" fmla="*/ 4381 w 5227"/>
              <a:gd name="T97" fmla="*/ 1873 h 2396"/>
              <a:gd name="T98" fmla="*/ 4531 w 5227"/>
              <a:gd name="T99" fmla="*/ 1766 h 2396"/>
              <a:gd name="T100" fmla="*/ 4675 w 5227"/>
              <a:gd name="T101" fmla="*/ 1648 h 2396"/>
              <a:gd name="T102" fmla="*/ 4812 w 5227"/>
              <a:gd name="T103" fmla="*/ 1522 h 2396"/>
              <a:gd name="T104" fmla="*/ 4942 w 5227"/>
              <a:gd name="T105" fmla="*/ 1389 h 2396"/>
              <a:gd name="T106" fmla="*/ 5063 w 5227"/>
              <a:gd name="T107" fmla="*/ 1247 h 2396"/>
              <a:gd name="T108" fmla="*/ 5174 w 5227"/>
              <a:gd name="T109" fmla="*/ 1098 h 2396"/>
              <a:gd name="T110" fmla="*/ 5227 w 5227"/>
              <a:gd name="T111" fmla="*/ 1022 h 2396"/>
              <a:gd name="T112" fmla="*/ 4238 w 5227"/>
              <a:gd name="T113" fmla="*/ 1000 h 2396"/>
              <a:gd name="T114" fmla="*/ 3720 w 5227"/>
              <a:gd name="T115" fmla="*/ 155 h 2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227" h="2396">
                <a:moveTo>
                  <a:pt x="3720" y="155"/>
                </a:moveTo>
                <a:lnTo>
                  <a:pt x="3673" y="212"/>
                </a:lnTo>
                <a:lnTo>
                  <a:pt x="3568" y="318"/>
                </a:lnTo>
                <a:lnTo>
                  <a:pt x="3453" y="411"/>
                </a:lnTo>
                <a:lnTo>
                  <a:pt x="3327" y="492"/>
                </a:lnTo>
                <a:lnTo>
                  <a:pt x="3194" y="559"/>
                </a:lnTo>
                <a:lnTo>
                  <a:pt x="3051" y="611"/>
                </a:lnTo>
                <a:lnTo>
                  <a:pt x="2901" y="646"/>
                </a:lnTo>
                <a:lnTo>
                  <a:pt x="2745" y="664"/>
                </a:lnTo>
                <a:lnTo>
                  <a:pt x="2666" y="665"/>
                </a:lnTo>
                <a:lnTo>
                  <a:pt x="2619" y="665"/>
                </a:lnTo>
                <a:lnTo>
                  <a:pt x="2529" y="659"/>
                </a:lnTo>
                <a:lnTo>
                  <a:pt x="2395" y="639"/>
                </a:lnTo>
                <a:lnTo>
                  <a:pt x="2224" y="593"/>
                </a:lnTo>
                <a:lnTo>
                  <a:pt x="2063" y="524"/>
                </a:lnTo>
                <a:lnTo>
                  <a:pt x="1914" y="437"/>
                </a:lnTo>
                <a:lnTo>
                  <a:pt x="1778" y="332"/>
                </a:lnTo>
                <a:lnTo>
                  <a:pt x="1658" y="210"/>
                </a:lnTo>
                <a:lnTo>
                  <a:pt x="1551" y="74"/>
                </a:lnTo>
                <a:lnTo>
                  <a:pt x="1506" y="0"/>
                </a:lnTo>
                <a:lnTo>
                  <a:pt x="502" y="28"/>
                </a:lnTo>
                <a:lnTo>
                  <a:pt x="0" y="853"/>
                </a:lnTo>
                <a:lnTo>
                  <a:pt x="50" y="939"/>
                </a:lnTo>
                <a:lnTo>
                  <a:pt x="161" y="1105"/>
                </a:lnTo>
                <a:lnTo>
                  <a:pt x="281" y="1263"/>
                </a:lnTo>
                <a:lnTo>
                  <a:pt x="412" y="1412"/>
                </a:lnTo>
                <a:lnTo>
                  <a:pt x="551" y="1553"/>
                </a:lnTo>
                <a:lnTo>
                  <a:pt x="699" y="1684"/>
                </a:lnTo>
                <a:lnTo>
                  <a:pt x="855" y="1806"/>
                </a:lnTo>
                <a:lnTo>
                  <a:pt x="1020" y="1919"/>
                </a:lnTo>
                <a:lnTo>
                  <a:pt x="1191" y="2020"/>
                </a:lnTo>
                <a:lnTo>
                  <a:pt x="1370" y="2111"/>
                </a:lnTo>
                <a:lnTo>
                  <a:pt x="1554" y="2190"/>
                </a:lnTo>
                <a:lnTo>
                  <a:pt x="1746" y="2256"/>
                </a:lnTo>
                <a:lnTo>
                  <a:pt x="1942" y="2310"/>
                </a:lnTo>
                <a:lnTo>
                  <a:pt x="2144" y="2352"/>
                </a:lnTo>
                <a:lnTo>
                  <a:pt x="2349" y="2380"/>
                </a:lnTo>
                <a:lnTo>
                  <a:pt x="2560" y="2394"/>
                </a:lnTo>
                <a:lnTo>
                  <a:pt x="2666" y="2396"/>
                </a:lnTo>
                <a:lnTo>
                  <a:pt x="2766" y="2394"/>
                </a:lnTo>
                <a:lnTo>
                  <a:pt x="2963" y="2381"/>
                </a:lnTo>
                <a:lnTo>
                  <a:pt x="3157" y="2357"/>
                </a:lnTo>
                <a:lnTo>
                  <a:pt x="3347" y="2321"/>
                </a:lnTo>
                <a:lnTo>
                  <a:pt x="3532" y="2273"/>
                </a:lnTo>
                <a:lnTo>
                  <a:pt x="3712" y="2213"/>
                </a:lnTo>
                <a:lnTo>
                  <a:pt x="3888" y="2143"/>
                </a:lnTo>
                <a:lnTo>
                  <a:pt x="4058" y="2064"/>
                </a:lnTo>
                <a:lnTo>
                  <a:pt x="4223" y="1973"/>
                </a:lnTo>
                <a:lnTo>
                  <a:pt x="4381" y="1873"/>
                </a:lnTo>
                <a:lnTo>
                  <a:pt x="4531" y="1766"/>
                </a:lnTo>
                <a:lnTo>
                  <a:pt x="4675" y="1648"/>
                </a:lnTo>
                <a:lnTo>
                  <a:pt x="4812" y="1522"/>
                </a:lnTo>
                <a:lnTo>
                  <a:pt x="4942" y="1389"/>
                </a:lnTo>
                <a:lnTo>
                  <a:pt x="5063" y="1247"/>
                </a:lnTo>
                <a:lnTo>
                  <a:pt x="5174" y="1098"/>
                </a:lnTo>
                <a:lnTo>
                  <a:pt x="5227" y="1022"/>
                </a:lnTo>
                <a:lnTo>
                  <a:pt x="4238" y="1000"/>
                </a:lnTo>
                <a:lnTo>
                  <a:pt x="3720" y="155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36576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180298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69E42E8-5150-4F67-A268-6D4F8DF5F9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1852533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30" imgW="347" imgH="348" progId="TCLayout.ActiveDocument.1">
                  <p:embed/>
                </p:oleObj>
              </mc:Choice>
              <mc:Fallback>
                <p:oleObj name="think-cell Slide" r:id="rId30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69E42E8-5150-4F67-A268-6D4F8DF5F9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B799DFB-41E3-4FEA-95A7-2169BC3017A8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98DE0F-0B80-40A3-98C5-B59082B08E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307145-AFFD-49F1-9D92-3E997D44C50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D84544-5303-4D23-AC8A-C869A00FE7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0323AA-CE9C-4B53-8172-E9ADCEC76F8A}" type="datetimeFigureOut">
              <a:rPr lang="en-US" smtClean="0"/>
              <a:t>10/1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00B2D1-E358-4C21-9FC3-47966E83FE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CE5B28-301E-4770-BC8F-D27043E97A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F375FF-E3D9-4885-B6AC-DEBBCC0A97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9793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4" r:id="rId2"/>
    <p:sldLayoutId id="2147483650" r:id="rId3"/>
    <p:sldLayoutId id="2147483693" r:id="rId4"/>
    <p:sldLayoutId id="2147483692" r:id="rId5"/>
    <p:sldLayoutId id="2147483694" r:id="rId6"/>
    <p:sldLayoutId id="2147483695" r:id="rId7"/>
    <p:sldLayoutId id="2147483706" r:id="rId8"/>
    <p:sldLayoutId id="2147483707" r:id="rId9"/>
    <p:sldLayoutId id="2147483696" r:id="rId10"/>
    <p:sldLayoutId id="2147483697" r:id="rId11"/>
    <p:sldLayoutId id="2147483699" r:id="rId12"/>
    <p:sldLayoutId id="2147483698" r:id="rId13"/>
    <p:sldLayoutId id="2147483700" r:id="rId14"/>
    <p:sldLayoutId id="2147483701" r:id="rId15"/>
    <p:sldLayoutId id="2147483702" r:id="rId16"/>
    <p:sldLayoutId id="2147483703" r:id="rId17"/>
    <p:sldLayoutId id="2147483708" r:id="rId18"/>
    <p:sldLayoutId id="2147483710" r:id="rId19"/>
    <p:sldLayoutId id="2147483711" r:id="rId20"/>
    <p:sldLayoutId id="2147483709" r:id="rId21"/>
    <p:sldLayoutId id="2147483704" r:id="rId22"/>
    <p:sldLayoutId id="2147483705" r:id="rId23"/>
    <p:sldLayoutId id="2147483712" r:id="rId24"/>
    <p:sldLayoutId id="2147483713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C73A69-F6B4-40EA-A690-35CEDE65EC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6380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C73A69-F6B4-40EA-A690-35CEDE65E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6AF52817-AC1C-4007-AE00-BEC510BF10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b="1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622A41A-EB79-42D8-BDB5-979B1D3680B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troducing Nui Market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057F00E-897E-4E2C-AD58-BE0D08189F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55933" y="2458744"/>
            <a:ext cx="7858677" cy="2975173"/>
          </a:xfrm>
        </p:spPr>
        <p:txBody>
          <a:bodyPr wrap="square">
            <a:spAutoFit/>
          </a:bodyPr>
          <a:lstStyle/>
          <a:p>
            <a:r>
              <a:rPr lang="en-GB" dirty="0"/>
              <a:t>Nui Markets is a Software as a Service business providing digital B2B marketplaces for global agricultural producers.</a:t>
            </a:r>
          </a:p>
          <a:p>
            <a:endParaRPr lang="en-GB" dirty="0"/>
          </a:p>
          <a:p>
            <a:r>
              <a:rPr lang="en-GB" dirty="0"/>
              <a:t>We enhance client | customer connections through an easy and efficient digital trading interface. </a:t>
            </a:r>
          </a:p>
          <a:p>
            <a:endParaRPr lang="en-GB" dirty="0"/>
          </a:p>
          <a:p>
            <a:r>
              <a:rPr lang="en-GB" dirty="0"/>
              <a:t>The implementation of our digital sales platform is hassle free and delivers substantial dividends to our partners.</a:t>
            </a:r>
          </a:p>
        </p:txBody>
      </p:sp>
    </p:spTree>
    <p:extLst>
      <p:ext uri="{BB962C8B-B14F-4D97-AF65-F5344CB8AC3E}">
        <p14:creationId xmlns:p14="http://schemas.microsoft.com/office/powerpoint/2010/main" val="1975250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A9CFF6-9EDE-4464-AA07-C0582DE266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72" y="1227091"/>
            <a:ext cx="2737530" cy="1107996"/>
          </a:xfrm>
        </p:spPr>
        <p:txBody>
          <a:bodyPr/>
          <a:lstStyle/>
          <a:p>
            <a:r>
              <a:rPr lang="en-NZ" dirty="0"/>
              <a:t>Why digital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B93E5F-1C63-491F-9A4F-EAD137712D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0972" y="2679492"/>
            <a:ext cx="2737530" cy="276999"/>
          </a:xfrm>
        </p:spPr>
        <p:txBody>
          <a:bodyPr/>
          <a:lstStyle/>
          <a:p>
            <a:r>
              <a:rPr lang="en-NZ" dirty="0"/>
              <a:t>Discover a better wa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BAD8D8C-6DD7-4582-904C-6338F2EB389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64895" y="1033193"/>
            <a:ext cx="7468960" cy="3570208"/>
          </a:xfrm>
        </p:spPr>
        <p:txBody>
          <a:bodyPr/>
          <a:lstStyle/>
          <a:p>
            <a:pPr marL="0" indent="0">
              <a:buNone/>
            </a:pPr>
            <a:r>
              <a:rPr lang="en-NZ" dirty="0"/>
              <a:t>More and more businesses are pursuing a digitization strategy. This shift in thinking highlights that B2B ecommerce has numerous advantages, including:</a:t>
            </a:r>
          </a:p>
          <a:p>
            <a:pPr marL="0" indent="0">
              <a:buNone/>
            </a:pPr>
            <a:endParaRPr lang="en-NZ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NZ" dirty="0"/>
              <a:t>A simplified and streamlined trade process </a:t>
            </a:r>
          </a:p>
          <a:p>
            <a:pPr marL="182880" lvl="1" indent="0">
              <a:buNone/>
            </a:pPr>
            <a:endParaRPr lang="en-NZ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NZ" dirty="0"/>
              <a:t>Increased customer engagement and greater access to an expanded customer base. 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NZ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NZ" dirty="0"/>
              <a:t>Price transparency giving all participants a stake in determining the true market price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NZ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NZ" dirty="0"/>
              <a:t>Reduced tension during the negotiation process</a:t>
            </a:r>
          </a:p>
        </p:txBody>
      </p:sp>
    </p:spTree>
    <p:extLst>
      <p:ext uri="{BB962C8B-B14F-4D97-AF65-F5344CB8AC3E}">
        <p14:creationId xmlns:p14="http://schemas.microsoft.com/office/powerpoint/2010/main" val="9580952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35457A-C7A6-4BE2-8EC4-A2EBEC77E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72" y="1504090"/>
            <a:ext cx="2737530" cy="553998"/>
          </a:xfrm>
        </p:spPr>
        <p:txBody>
          <a:bodyPr/>
          <a:lstStyle/>
          <a:p>
            <a:r>
              <a:rPr lang="en-NZ" dirty="0"/>
              <a:t>Why Nui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F8CA99-08B4-4280-ACD7-BAE7AC3200E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0972" y="2679492"/>
            <a:ext cx="2737530" cy="276999"/>
          </a:xfrm>
        </p:spPr>
        <p:txBody>
          <a:bodyPr/>
          <a:lstStyle/>
          <a:p>
            <a:r>
              <a:rPr lang="en-NZ" dirty="0"/>
              <a:t>Your platform, your ru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AC135CE-6721-46F9-9FA7-90C6F5272FA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964895" y="1033193"/>
            <a:ext cx="7468960" cy="5078313"/>
          </a:xfrm>
        </p:spPr>
        <p:txBody>
          <a:bodyPr/>
          <a:lstStyle/>
          <a:p>
            <a:pPr mar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ontrol – </a:t>
            </a:r>
            <a:r>
              <a:rPr lang="en-GB" sz="1800" dirty="0">
                <a:solidFill>
                  <a:srgbClr val="000000"/>
                </a:solidFill>
                <a:latin typeface="Arial" panose="020B0604020202020204" pitchFamily="34" charset="0"/>
              </a:rPr>
              <a:t>A N</a:t>
            </a:r>
            <a:r>
              <a:rPr lang="en-GB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ui platform is a platform with your branding, your rules, your participants. You get to control the who, the what and the when.</a:t>
            </a:r>
            <a:endParaRPr lang="en-GB" b="0" i="0" dirty="0">
              <a:solidFill>
                <a:srgbClr val="500050"/>
              </a:solidFill>
              <a:effectLst/>
              <a:latin typeface="Arial" panose="020B0604020202020204" pitchFamily="34" charset="0"/>
            </a:endParaRPr>
          </a:p>
          <a:p>
            <a:pPr mar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-GB" b="0" i="0" dirty="0">
                <a:solidFill>
                  <a:srgbClr val="500050"/>
                </a:solidFill>
                <a:effectLst/>
                <a:latin typeface="Arial" panose="020B0604020202020204" pitchFamily="34" charset="0"/>
              </a:rPr>
            </a:br>
            <a:r>
              <a:rPr lang="en-GB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Configurable -</a:t>
            </a:r>
            <a:r>
              <a:rPr lang="en-GB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Nui platforms can be tailored to meet your specific business outcomes.</a:t>
            </a:r>
            <a:endParaRPr lang="en-GB" b="0" i="0" dirty="0">
              <a:solidFill>
                <a:srgbClr val="500050"/>
              </a:solidFill>
              <a:effectLst/>
              <a:latin typeface="Arial" panose="020B0604020202020204" pitchFamily="34" charset="0"/>
            </a:endParaRPr>
          </a:p>
          <a:p>
            <a:pPr mar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-GB" b="0" i="0" dirty="0">
                <a:solidFill>
                  <a:srgbClr val="500050"/>
                </a:solidFill>
                <a:effectLst/>
                <a:latin typeface="Arial" panose="020B0604020202020204" pitchFamily="34" charset="0"/>
              </a:rPr>
            </a:br>
            <a:r>
              <a:rPr lang="en-GB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trategy -</a:t>
            </a:r>
            <a:r>
              <a:rPr lang="en-GB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In addition to the platform, Nui provides strategic insights on how to the optimize the technology to achieve your goals.</a:t>
            </a:r>
            <a:endParaRPr lang="en-GB" b="0" i="0" dirty="0">
              <a:solidFill>
                <a:srgbClr val="222222"/>
              </a:solidFill>
              <a:effectLst/>
              <a:latin typeface="Arial" panose="020B0604020202020204" pitchFamily="34" charset="0"/>
            </a:endParaRPr>
          </a:p>
          <a:p>
            <a:pPr mar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-GB" b="0" i="0" dirty="0">
                <a:solidFill>
                  <a:srgbClr val="500050"/>
                </a:solidFill>
                <a:effectLst/>
                <a:latin typeface="Arial" panose="020B0604020202020204" pitchFamily="34" charset="0"/>
              </a:rPr>
            </a:br>
            <a:r>
              <a:rPr lang="en-GB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oven -</a:t>
            </a:r>
            <a:r>
              <a:rPr lang="en-GB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Nui platforms have a proven track record. Our platforms are regularly used by over 1000 users from 400+ companies in more than fifty countries. To date, hundreds of millions of euros worth of products have been traded. </a:t>
            </a:r>
            <a:endParaRPr lang="en-GB" b="0" i="0" dirty="0">
              <a:solidFill>
                <a:srgbClr val="500050"/>
              </a:solidFill>
              <a:effectLst/>
              <a:latin typeface="Arial" panose="020B0604020202020204" pitchFamily="34" charset="0"/>
            </a:endParaRPr>
          </a:p>
          <a:p>
            <a:pPr marL="0" indent="0" algn="l" rtl="0">
              <a:spcBef>
                <a:spcPts val="0"/>
              </a:spcBef>
              <a:spcAft>
                <a:spcPts val="0"/>
              </a:spcAft>
              <a:buNone/>
            </a:pPr>
            <a:br>
              <a:rPr lang="en-GB" b="0" i="0" dirty="0">
                <a:solidFill>
                  <a:srgbClr val="500050"/>
                </a:solidFill>
                <a:effectLst/>
                <a:latin typeface="Arial" panose="020B0604020202020204" pitchFamily="34" charset="0"/>
              </a:rPr>
            </a:br>
            <a:r>
              <a:rPr lang="en-GB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User friendly –</a:t>
            </a:r>
            <a:r>
              <a:rPr lang="en-GB" sz="18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en-GB" sz="1800" dirty="0">
                <a:solidFill>
                  <a:srgbClr val="000000"/>
                </a:solidFill>
                <a:latin typeface="Arial" panose="020B0604020202020204" pitchFamily="34" charset="0"/>
              </a:rPr>
              <a:t>User feedback is a key driver in our development roadmap. Our design is continually evolving to ensure the best experience for those who use it. </a:t>
            </a:r>
            <a:endParaRPr lang="en-GB" b="0" i="0" dirty="0">
              <a:solidFill>
                <a:srgbClr val="500050"/>
              </a:solidFill>
              <a:effectLst/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en-GB" dirty="0"/>
              <a:t> </a:t>
            </a:r>
            <a:br>
              <a:rPr lang="en-GB" dirty="0"/>
            </a:br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1525426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FB054-10FC-4D88-96B9-7FAF8B407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0972" y="1227091"/>
            <a:ext cx="2737530" cy="1107996"/>
          </a:xfrm>
        </p:spPr>
        <p:txBody>
          <a:bodyPr/>
          <a:lstStyle/>
          <a:p>
            <a:r>
              <a:rPr lang="en-NZ" dirty="0"/>
              <a:t>Nui Essential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A2F9CD9-8C45-43B6-9F28-12E247B66B40}"/>
              </a:ext>
            </a:extLst>
          </p:cNvPr>
          <p:cNvSpPr txBox="1">
            <a:spLocks noGrp="1"/>
          </p:cNvSpPr>
          <p:nvPr>
            <p:ph type="body" sz="quarter" idx="19"/>
          </p:nvPr>
        </p:nvSpPr>
        <p:spPr>
          <a:xfrm>
            <a:off x="3965576" y="1033463"/>
            <a:ext cx="7459612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NZ" dirty="0"/>
              <a:t>Nui offers multiple plans, from basic to advanced, to best suit your specific needs. Regardless of which plan you choose, </a:t>
            </a:r>
            <a:r>
              <a:rPr lang="en-NZ" i="1" dirty="0"/>
              <a:t>all</a:t>
            </a:r>
            <a:r>
              <a:rPr lang="en-NZ" dirty="0"/>
              <a:t> plans offer the following essentials:</a:t>
            </a:r>
          </a:p>
          <a:p>
            <a:endParaRPr lang="en-NZ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NZ" dirty="0"/>
              <a:t>Secure, cloud-based infrastructure.</a:t>
            </a:r>
          </a:p>
          <a:p>
            <a:pPr lvl="1"/>
            <a:endParaRPr lang="en-NZ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NZ" dirty="0"/>
              <a:t>Design flexibility: Your logos, branding and colour schemes. A Nui platform can be quicky and seamlessly made to look and feel like the rest of your online channels. </a:t>
            </a:r>
          </a:p>
          <a:p>
            <a:pPr marL="182880" lvl="1" indent="0">
              <a:buNone/>
            </a:pPr>
            <a:endParaRPr lang="en-NZ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NZ" dirty="0"/>
              <a:t>Accessible via desktop or mobile app.</a:t>
            </a:r>
          </a:p>
          <a:p>
            <a:pPr lvl="1"/>
            <a:endParaRPr lang="en-NZ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NZ" dirty="0"/>
              <a:t>Marketplace and tender modules are standard with every plan.</a:t>
            </a:r>
          </a:p>
          <a:p>
            <a:pPr lvl="1"/>
            <a:endParaRPr lang="en-NZ" dirty="0"/>
          </a:p>
          <a:p>
            <a:endParaRPr lang="en-NZ" dirty="0"/>
          </a:p>
        </p:txBody>
      </p:sp>
    </p:spTree>
    <p:extLst>
      <p:ext uri="{BB962C8B-B14F-4D97-AF65-F5344CB8AC3E}">
        <p14:creationId xmlns:p14="http://schemas.microsoft.com/office/powerpoint/2010/main" val="32723201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C73A69-F6B4-40EA-A690-35CEDE65EC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C73A69-F6B4-40EA-A690-35CEDE65E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6AF52817-AC1C-4007-AE00-BEC510BF10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0502EEA-7C57-4BA7-BEA6-5BF1486A1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Nui plans</a:t>
            </a:r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FD30E30F-245B-4E2A-A2BF-C0C667507C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211453"/>
              </p:ext>
            </p:extLst>
          </p:nvPr>
        </p:nvGraphicFramePr>
        <p:xfrm>
          <a:off x="652914" y="1156260"/>
          <a:ext cx="10886172" cy="4545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28724">
                  <a:extLst>
                    <a:ext uri="{9D8B030D-6E8A-4147-A177-3AD203B41FA5}">
                      <a16:colId xmlns:a16="http://schemas.microsoft.com/office/drawing/2014/main" val="16058216"/>
                    </a:ext>
                  </a:extLst>
                </a:gridCol>
                <a:gridCol w="3628724">
                  <a:extLst>
                    <a:ext uri="{9D8B030D-6E8A-4147-A177-3AD203B41FA5}">
                      <a16:colId xmlns:a16="http://schemas.microsoft.com/office/drawing/2014/main" val="3082536627"/>
                    </a:ext>
                  </a:extLst>
                </a:gridCol>
                <a:gridCol w="3628724">
                  <a:extLst>
                    <a:ext uri="{9D8B030D-6E8A-4147-A177-3AD203B41FA5}">
                      <a16:colId xmlns:a16="http://schemas.microsoft.com/office/drawing/2014/main" val="3922225286"/>
                    </a:ext>
                  </a:extLst>
                </a:gridCol>
              </a:tblGrid>
              <a:tr h="791359">
                <a:tc>
                  <a:txBody>
                    <a:bodyPr/>
                    <a:lstStyle/>
                    <a:p>
                      <a:r>
                        <a:rPr lang="en-NZ" b="1" dirty="0"/>
                        <a:t>Start Simple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NZ" b="1" dirty="0"/>
                        <a:t>Then Extend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96471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Z" b="1" dirty="0">
                          <a:solidFill>
                            <a:schemeClr val="bg1"/>
                          </a:solidFill>
                        </a:rPr>
                        <a:t>Nui Standard</a:t>
                      </a:r>
                    </a:p>
                  </a:txBody>
                  <a:tcPr>
                    <a:solidFill>
                      <a:srgbClr val="75D4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NZ" b="1" dirty="0">
                          <a:solidFill>
                            <a:schemeClr val="bg1"/>
                          </a:solidFill>
                        </a:rPr>
                        <a:t>Nui Plus</a:t>
                      </a:r>
                    </a:p>
                  </a:txBody>
                  <a:tcPr>
                    <a:solidFill>
                      <a:srgbClr val="75D4F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NZ" b="1" dirty="0">
                          <a:solidFill>
                            <a:schemeClr val="bg1"/>
                          </a:solidFill>
                        </a:rPr>
                        <a:t>Nui Advanced</a:t>
                      </a:r>
                    </a:p>
                  </a:txBody>
                  <a:tcPr>
                    <a:solidFill>
                      <a:srgbClr val="75D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4514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NZ" dirty="0"/>
                        <a:t>For small to medium businesses or  larger businesses looking to pilot digital trading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en-N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NZ" dirty="0"/>
                        <a:t>For larger businesses with an established digital trading strate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NZ" dirty="0"/>
                        <a:t>For businesses with a large digital footprint or bespoke nee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0186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Marketplac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T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Marketplac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T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Marketplac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Ten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7967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Freight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Multi currency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Trade and activity dashboar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Freight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Multi currency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Trade and activity dashboar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7120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N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Custom features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NZ" dirty="0"/>
                        <a:t>Integr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93509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440293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C73A69-F6B4-40EA-A690-35CEDE65EC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742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C73A69-F6B4-40EA-A690-35CEDE65E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6AF52817-AC1C-4007-AE00-BEC510BF10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b="1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4416FB-210C-48EC-8839-4E7E221632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t started on your Nui standard implement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FEE772-B753-483A-A1CB-58196025B4B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73488" y="2734716"/>
            <a:ext cx="1991405" cy="246221"/>
          </a:xfr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BCF8CA-FB31-463E-B4FD-9367C10DE10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58627" y="2749327"/>
            <a:ext cx="1991405" cy="246221"/>
          </a:xfrm>
        </p:spPr>
        <p:txBody>
          <a:bodyPr>
            <a:spAutoFit/>
          </a:bodyPr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4AFC25-8C89-4967-8252-E47A3395874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682960" y="2843999"/>
            <a:ext cx="1991405" cy="246221"/>
          </a:xfr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26C5D38-1D13-4D80-9021-56EC92F32283}"/>
              </a:ext>
            </a:extLst>
          </p:cNvPr>
          <p:cNvSpPr txBox="1"/>
          <p:nvPr/>
        </p:nvSpPr>
        <p:spPr>
          <a:xfrm>
            <a:off x="603714" y="768562"/>
            <a:ext cx="86725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Z" dirty="0"/>
              <a:t>Nui are here to help you to launch your online trading platform in a matter of weeks</a:t>
            </a:r>
          </a:p>
        </p:txBody>
      </p:sp>
      <p:graphicFrame>
        <p:nvGraphicFramePr>
          <p:cNvPr id="23" name="Table 23">
            <a:extLst>
              <a:ext uri="{FF2B5EF4-FFF2-40B4-BE49-F238E27FC236}">
                <a16:creationId xmlns:a16="http://schemas.microsoft.com/office/drawing/2014/main" id="{E732C823-9230-45D9-9CE0-10DBDB9F55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6187481"/>
              </p:ext>
            </p:extLst>
          </p:nvPr>
        </p:nvGraphicFramePr>
        <p:xfrm>
          <a:off x="603713" y="1524961"/>
          <a:ext cx="10796924" cy="3108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9231">
                  <a:extLst>
                    <a:ext uri="{9D8B030D-6E8A-4147-A177-3AD203B41FA5}">
                      <a16:colId xmlns:a16="http://schemas.microsoft.com/office/drawing/2014/main" val="3077313332"/>
                    </a:ext>
                  </a:extLst>
                </a:gridCol>
                <a:gridCol w="2699231">
                  <a:extLst>
                    <a:ext uri="{9D8B030D-6E8A-4147-A177-3AD203B41FA5}">
                      <a16:colId xmlns:a16="http://schemas.microsoft.com/office/drawing/2014/main" val="3334591995"/>
                    </a:ext>
                  </a:extLst>
                </a:gridCol>
                <a:gridCol w="2699231">
                  <a:extLst>
                    <a:ext uri="{9D8B030D-6E8A-4147-A177-3AD203B41FA5}">
                      <a16:colId xmlns:a16="http://schemas.microsoft.com/office/drawing/2014/main" val="3673367654"/>
                    </a:ext>
                  </a:extLst>
                </a:gridCol>
                <a:gridCol w="2699231">
                  <a:extLst>
                    <a:ext uri="{9D8B030D-6E8A-4147-A177-3AD203B41FA5}">
                      <a16:colId xmlns:a16="http://schemas.microsoft.com/office/drawing/2014/main" val="42853797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dirty="0"/>
                        <a:t>READ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dirty="0"/>
                        <a:t>S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dirty="0"/>
                        <a:t>G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48798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Z" sz="1200" dirty="0"/>
                        <a:t>What do we need you to do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Review Nui standard Functionalit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Commit to a 3 month tria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Assign an internal platform owner to work with Nui to implement your platform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NZ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NZ" sz="1200" dirty="0"/>
                        <a:t>Your platform owner wil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Agree launch strateg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Provide general platform brand guides and asse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Forward product data and branding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NZ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Get used to the platform in a test / training environme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Launch</a:t>
                      </a:r>
                    </a:p>
                    <a:p>
                      <a:endParaRPr lang="en-NZ" sz="1200" dirty="0"/>
                    </a:p>
                    <a:p>
                      <a:endParaRPr lang="en-NZ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499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NZ" sz="1200" dirty="0"/>
                        <a:t>How will Nui help?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Demo platform available to review Nui standard functionalit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Case studi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Brand guideline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Template and support to define  launch strategy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Change management, comms and training pla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Templates for data collectio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NZ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Training video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NZ" sz="1200" dirty="0"/>
                        <a:t>24/7 suppor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07170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9802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C73A69-F6B4-40EA-A690-35CEDE65EC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C73A69-F6B4-40EA-A690-35CEDE65E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" name="Rectangle 82" hidden="1">
            <a:extLst>
              <a:ext uri="{FF2B5EF4-FFF2-40B4-BE49-F238E27FC236}">
                <a16:creationId xmlns:a16="http://schemas.microsoft.com/office/drawing/2014/main" id="{6AF52817-AC1C-4007-AE00-BEC510BF10F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dirty="0">
              <a:latin typeface="Raleway" panose="020B0503030101060003" pitchFamily="34" charset="0"/>
              <a:ea typeface="+mj-ea"/>
              <a:cs typeface="+mj-cs"/>
              <a:sym typeface="Raleway" panose="020B0503030101060003" pitchFamily="34" charset="0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81A4934-F1FB-4564-AEE9-4A203EF4377D}"/>
              </a:ext>
            </a:extLst>
          </p:cNvPr>
          <p:cNvSpPr txBox="1">
            <a:spLocks/>
          </p:cNvSpPr>
          <p:nvPr/>
        </p:nvSpPr>
        <p:spPr>
          <a:xfrm>
            <a:off x="6531584" y="2921169"/>
            <a:ext cx="5368316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6600" b="1" dirty="0">
                <a:solidFill>
                  <a:schemeClr val="accent3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1587664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WaRNl.4uBX9O56MqjA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bvlHLmUtO_O.kaVsY3z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xOZgf_QglIG8Vxkveq1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xOZgf_QglIG8Vxkveq1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xOZgf_QglIG8Vxkveq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xOZgf_QglIG8Vxkveq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Asdm3XQlTMFrVjiPIZY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09Cpb7PvWCKElqN8ZtvQ"/>
</p:tagLst>
</file>

<file path=ppt/theme/theme1.xml><?xml version="1.0" encoding="utf-8"?>
<a:theme xmlns:a="http://schemas.openxmlformats.org/drawingml/2006/main" name="Office Theme">
  <a:themeElements>
    <a:clrScheme name="2006-030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45670"/>
      </a:accent1>
      <a:accent2>
        <a:srgbClr val="2184B8"/>
      </a:accent2>
      <a:accent3>
        <a:srgbClr val="2DEFF4"/>
      </a:accent3>
      <a:accent4>
        <a:srgbClr val="D6E4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2">
      <a:majorFont>
        <a:latin typeface="Raleway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03</TotalTime>
  <Words>656</Words>
  <Application>Microsoft Office PowerPoint</Application>
  <PresentationFormat>Widescreen</PresentationFormat>
  <Paragraphs>88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rial</vt:lpstr>
      <vt:lpstr>Calibri</vt:lpstr>
      <vt:lpstr>Calibri Light</vt:lpstr>
      <vt:lpstr>Courier New</vt:lpstr>
      <vt:lpstr>Impact</vt:lpstr>
      <vt:lpstr>Lato</vt:lpstr>
      <vt:lpstr>Raleway</vt:lpstr>
      <vt:lpstr>Roboto</vt:lpstr>
      <vt:lpstr>Wingdings</vt:lpstr>
      <vt:lpstr>Office Theme</vt:lpstr>
      <vt:lpstr>think-cell Slide</vt:lpstr>
      <vt:lpstr>Introducing Nui Markets</vt:lpstr>
      <vt:lpstr>Why digital?</vt:lpstr>
      <vt:lpstr>Why Nui?</vt:lpstr>
      <vt:lpstr>Nui Essentials</vt:lpstr>
      <vt:lpstr>Nui plans</vt:lpstr>
      <vt:lpstr>Get started on your Nui standard implem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ignesh m</dc:creator>
  <cp:lastModifiedBy>owen.swinson1@gmail.com</cp:lastModifiedBy>
  <cp:revision>173</cp:revision>
  <dcterms:created xsi:type="dcterms:W3CDTF">2020-04-30T08:07:52Z</dcterms:created>
  <dcterms:modified xsi:type="dcterms:W3CDTF">2021-10-15T00:03:04Z</dcterms:modified>
</cp:coreProperties>
</file>